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2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1.xml" ContentType="application/vnd.openxmlformats-officedocument.presentationml.notesSl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2.xml" ContentType="application/vnd.openxmlformats-officedocument.presentationml.notesSlid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3.xml" ContentType="application/vnd.openxmlformats-officedocument.presentationml.notesSlid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notesSlides/notesSlide4.xml" ContentType="application/vnd.openxmlformats-officedocument.presentationml.notesSlid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8"/>
  </p:notesMasterIdLst>
  <p:sldIdLst>
    <p:sldId id="281" r:id="rId2"/>
    <p:sldId id="282" r:id="rId3"/>
    <p:sldId id="289" r:id="rId4"/>
    <p:sldId id="297" r:id="rId5"/>
    <p:sldId id="283" r:id="rId6"/>
    <p:sldId id="1481" r:id="rId7"/>
  </p:sldIdLst>
  <p:sldSz cx="12192000" cy="6858000"/>
  <p:notesSz cx="6858000" cy="9144000"/>
  <p:custDataLst>
    <p:tags r:id="rId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C083E6E3-FA7D-4D7B-A595-EF9225AFEA82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509" autoAdjust="0"/>
    <p:restoredTop sz="94660"/>
  </p:normalViewPr>
  <p:slideViewPr>
    <p:cSldViewPr snapToObjects="1" showGuides="1">
      <p:cViewPr varScale="1">
        <p:scale>
          <a:sx n="124" d="100"/>
          <a:sy n="124" d="100"/>
        </p:scale>
        <p:origin x="272" y="16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8281835886800297E-2"/>
          <c:y val="7.7404884986734493E-2"/>
          <c:w val="0.93732972545416737"/>
          <c:h val="0.6546452049698514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A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Cat1</c:v>
                </c:pt>
                <c:pt idx="1">
                  <c:v>Cat2</c:v>
                </c:pt>
                <c:pt idx="2">
                  <c:v>Cat3</c:v>
                </c:pt>
                <c:pt idx="3">
                  <c:v>Cat4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8AF-405B-906F-403E12A869B3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B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Cat1</c:v>
                </c:pt>
                <c:pt idx="1">
                  <c:v>Cat2</c:v>
                </c:pt>
                <c:pt idx="2">
                  <c:v>Cat3</c:v>
                </c:pt>
                <c:pt idx="3">
                  <c:v>Cat4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8AF-405B-906F-403E12A869B3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C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Cat1</c:v>
                </c:pt>
                <c:pt idx="1">
                  <c:v>Cat2</c:v>
                </c:pt>
                <c:pt idx="2">
                  <c:v>Cat3</c:v>
                </c:pt>
                <c:pt idx="3">
                  <c:v>Cat4</c:v>
                </c:pt>
              </c:strCache>
            </c:str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8AF-405B-906F-403E12A869B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130332967"/>
        <c:axId val="1130333951"/>
      </c:barChart>
      <c:catAx>
        <c:axId val="113033296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130333951"/>
        <c:crosses val="autoZero"/>
        <c:auto val="1"/>
        <c:lblAlgn val="ctr"/>
        <c:lblOffset val="100"/>
        <c:noMultiLvlLbl val="0"/>
      </c:catAx>
      <c:valAx>
        <c:axId val="113033395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13033296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3739057143791074"/>
          <c:y val="0.77726539208446155"/>
          <c:w val="0.32521850564527838"/>
          <c:h val="0.2089844618801090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>
              <a:latin typeface="Univers LT Std 47 Cn Lt" panose="020B0406020202040204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17AC22-2473-4822-8440-20C44103A4D4}" type="datetimeFigureOut">
              <a:rPr lang="de-DE" smtClean="0">
                <a:latin typeface="Univers LT Std 47 Cn Lt" panose="020B0406020202040204" pitchFamily="34" charset="0"/>
              </a:rPr>
              <a:t>21.05.24</a:t>
            </a:fld>
            <a:endParaRPr lang="de-DE">
              <a:latin typeface="Univers LT Std 47 Cn Lt" panose="020B0406020202040204" pitchFamily="34" charset="0"/>
            </a:endParaRPr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>
              <a:latin typeface="Univers LT Std 47 Cn Lt" panose="020B0406020202040204" pitchFamily="34" charset="0"/>
            </a:endParaRPr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Edit master text format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>
              <a:latin typeface="Univers LT Std 47 Cn Lt" panose="020B0406020202040204" pitchFamily="34" charset="0"/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D13673B-28EA-47AF-BDB9-C168888C00E1}" type="slidenum">
              <a:rPr lang="de-DE" smtClean="0">
                <a:latin typeface="Univers LT Std 47 Cn Lt" panose="020B0406020202040204" pitchFamily="34" charset="0"/>
              </a:rPr>
              <a:t>'No.'</a:t>
            </a:fld>
            <a:endParaRPr lang="de-DE">
              <a:latin typeface="Univers LT Std 47 Cn Lt" panose="020B0406020202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25291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Univers LT Std 47 Cn Lt" panose="020B040602020204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Univers LT Std 47 Cn Lt" panose="020B040602020204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Univers LT Std 47 Cn Lt" panose="020B040602020204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Univers LT Std 47 Cn Lt" panose="020B040602020204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Univers LT Std 47 Cn Lt" panose="020B040602020204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>
              <a:latin typeface="Univers LT Std 47 Cn Lt" panose="020B0406020202040204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DBF8A8-E12E-40AD-A1E9-9BB54D1E62CD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nivers LT Std 47 Cn Lt" panose="020B0406020202040204" pitchFamily="34" charset="0"/>
              </a:rPr>
              <a:t>1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nivers LT Std 47 Cn Lt" panose="020B0406020202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2870671"/>
      </p:ext>
    </p:extLst>
  </p:cSld>
  <p:clrMapOvr>
    <a:masterClrMapping/>
  </p:clrMapOvr>
</p:notes>
</file>

<file path=ppt/notesSlides/notesSlide2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>
              <a:latin typeface="Univers LT Std 47 Cn Lt" panose="020B0406020202040204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DBF8A8-E12E-40AD-A1E9-9BB54D1E62CD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nivers LT Std 47 Cn Lt" panose="020B0406020202040204" pitchFamily="34" charset="0"/>
              </a:rPr>
              <a:t>2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nivers LT Std 47 Cn Lt" panose="020B0406020202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0338852"/>
      </p:ext>
    </p:extLst>
  </p:cSld>
  <p:clrMapOvr>
    <a:masterClrMapping/>
  </p:clrMapOvr>
</p:notes>
</file>

<file path=ppt/notesSlides/notesSlide3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>
              <a:latin typeface="Univers LT Std 47 Cn Lt" panose="020B0406020202040204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DBF8A8-E12E-40AD-A1E9-9BB54D1E62CD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nivers LT Std 47 Cn Lt" panose="020B0406020202040204" pitchFamily="34" charset="0"/>
              </a:rPr>
              <a:t>3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nivers LT Std 47 Cn Lt" panose="020B0406020202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5631218"/>
      </p:ext>
    </p:extLst>
  </p:cSld>
  <p:clrMapOvr>
    <a:masterClrMapping/>
  </p:clrMapOvr>
</p:notes>
</file>

<file path=ppt/notesSlides/notesSlide4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>
              <a:latin typeface="Univers LT Std 47 Cn Lt" panose="020B0406020202040204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DBF8A8-E12E-40AD-A1E9-9BB54D1E62CD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nivers LT Std 47 Cn Lt" panose="020B0406020202040204" pitchFamily="34" charset="0"/>
              </a:rPr>
              <a:t>4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nivers LT Std 47 Cn Lt" panose="020B0406020202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83654688"/>
      </p:ext>
    </p:extLst>
  </p:cSld>
  <p:clrMapOvr>
    <a:masterClrMapping/>
  </p:clrMapOvr>
</p:notes>
</file>

<file path=ppt/notesSlides/notesSlide5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>
              <a:latin typeface="Univers LT Std 47 Cn Lt" panose="020B0406020202040204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DBF8A8-E12E-40AD-A1E9-9BB54D1E62CD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nivers LT Std 47 Cn Lt" panose="020B0406020202040204" pitchFamily="34" charset="0"/>
              </a:rPr>
              <a:t>5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nivers LT Std 47 Cn Lt" panose="020B0406020202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4140305"/>
      </p:ext>
    </p:extLst>
  </p:cSld>
  <p:clrMapOvr>
    <a:masterClrMapping/>
  </p:clrMapOvr>
</p:notes>
</file>

<file path=ppt/notesSlides/notesSlide6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>
              <a:latin typeface="Univers LT Std 47 Cn Lt" panose="020B0406020202040204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8A92E3-2001-4AE8-AA11-EF7D81CDE679}" type="slidenum">
              <a:rPr lang="de-DE" smtClean="0">
                <a:latin typeface="Univers LT Std 47 Cn Lt" panose="020B0406020202040204" pitchFamily="34" charset="0"/>
              </a:rPr>
              <a:t>6</a:t>
            </a:fld>
            <a:endParaRPr lang="de-DE" dirty="0">
              <a:latin typeface="Univers LT Std 47 Cn Lt" panose="020B0406020202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81406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dunkel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9423D010-A3B9-7039-EA21-56726937B5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08004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A85BDC5-E338-2798-3015-0493E7D8E11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990" y="335563"/>
            <a:ext cx="5328009" cy="484748"/>
          </a:xfrm>
        </p:spPr>
        <p:txBody>
          <a:bodyPr vert="horz" anchor="t"/>
          <a:lstStyle>
            <a:lvl1pPr algn="l">
              <a:defRPr sz="35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7CD5D4E-D25C-ACC3-DA5D-91886EEC9E7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7990" y="1977683"/>
            <a:ext cx="5328009" cy="1655762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Master-Untertitelformat bearbeiten</a:t>
            </a:r>
            <a:endParaRPr lang="en-US" dirty="0"/>
          </a:p>
        </p:txBody>
      </p:sp>
      <p:grpSp>
        <p:nvGrpSpPr>
          <p:cNvPr id="22" name="Grafik 23">
            <a:extLst>
              <a:ext uri="{FF2B5EF4-FFF2-40B4-BE49-F238E27FC236}">
                <a16:creationId xmlns:a16="http://schemas.microsoft.com/office/drawing/2014/main" id="{4E752B44-9257-E045-0D76-82B15DC5C0C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07989" y="6218443"/>
            <a:ext cx="1296000" cy="223871"/>
            <a:chOff x="3042261" y="4495188"/>
            <a:chExt cx="3720761" cy="642716"/>
          </a:xfrm>
          <a:solidFill>
            <a:schemeClr val="bg1"/>
          </a:solidFill>
        </p:grpSpPr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A6C53CC2-7BAD-29AA-A29A-2010FA9AF7AF}"/>
                </a:ext>
              </a:extLst>
            </p:cNvPr>
            <p:cNvSpPr/>
            <p:nvPr/>
          </p:nvSpPr>
          <p:spPr>
            <a:xfrm>
              <a:off x="3042261" y="4495188"/>
              <a:ext cx="450339" cy="638344"/>
            </a:xfrm>
            <a:custGeom>
              <a:avLst/>
              <a:gdLst>
                <a:gd name="connsiteX0" fmla="*/ 262333 w 450339"/>
                <a:gd name="connsiteY0" fmla="*/ 638345 h 638344"/>
                <a:gd name="connsiteX1" fmla="*/ 251403 w 450339"/>
                <a:gd name="connsiteY1" fmla="*/ 638345 h 638344"/>
                <a:gd name="connsiteX2" fmla="*/ 0 w 450339"/>
                <a:gd name="connsiteY2" fmla="*/ 638345 h 638344"/>
                <a:gd name="connsiteX3" fmla="*/ 0 w 450339"/>
                <a:gd name="connsiteY3" fmla="*/ 0 h 638344"/>
                <a:gd name="connsiteX4" fmla="*/ 266706 w 450339"/>
                <a:gd name="connsiteY4" fmla="*/ 0 h 638344"/>
                <a:gd name="connsiteX5" fmla="*/ 450339 w 450339"/>
                <a:gd name="connsiteY5" fmla="*/ 192378 h 638344"/>
                <a:gd name="connsiteX6" fmla="*/ 450339 w 450339"/>
                <a:gd name="connsiteY6" fmla="*/ 452525 h 638344"/>
                <a:gd name="connsiteX7" fmla="*/ 393500 w 450339"/>
                <a:gd name="connsiteY7" fmla="*/ 598995 h 638344"/>
                <a:gd name="connsiteX8" fmla="*/ 262333 w 450339"/>
                <a:gd name="connsiteY8" fmla="*/ 638345 h 638344"/>
                <a:gd name="connsiteX9" fmla="*/ 137725 w 450339"/>
                <a:gd name="connsiteY9" fmla="*/ 500620 h 638344"/>
                <a:gd name="connsiteX10" fmla="*/ 257961 w 450339"/>
                <a:gd name="connsiteY10" fmla="*/ 500620 h 638344"/>
                <a:gd name="connsiteX11" fmla="*/ 319172 w 450339"/>
                <a:gd name="connsiteY11" fmla="*/ 445967 h 638344"/>
                <a:gd name="connsiteX12" fmla="*/ 319172 w 450339"/>
                <a:gd name="connsiteY12" fmla="*/ 196750 h 638344"/>
                <a:gd name="connsiteX13" fmla="*/ 255775 w 450339"/>
                <a:gd name="connsiteY13" fmla="*/ 135539 h 638344"/>
                <a:gd name="connsiteX14" fmla="*/ 135539 w 450339"/>
                <a:gd name="connsiteY14" fmla="*/ 135539 h 638344"/>
                <a:gd name="connsiteX15" fmla="*/ 135539 w 450339"/>
                <a:gd name="connsiteY15" fmla="*/ 500620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0339" h="638344">
                  <a:moveTo>
                    <a:pt x="262333" y="638345"/>
                  </a:moveTo>
                  <a:cubicBezTo>
                    <a:pt x="257961" y="638345"/>
                    <a:pt x="255775" y="638345"/>
                    <a:pt x="251403" y="638345"/>
                  </a:cubicBezTo>
                  <a:lnTo>
                    <a:pt x="0" y="638345"/>
                  </a:lnTo>
                  <a:lnTo>
                    <a:pt x="0" y="0"/>
                  </a:lnTo>
                  <a:lnTo>
                    <a:pt x="266706" y="0"/>
                  </a:lnTo>
                  <a:cubicBezTo>
                    <a:pt x="391314" y="0"/>
                    <a:pt x="450339" y="61211"/>
                    <a:pt x="450339" y="192378"/>
                  </a:cubicBezTo>
                  <a:lnTo>
                    <a:pt x="450339" y="452525"/>
                  </a:lnTo>
                  <a:cubicBezTo>
                    <a:pt x="450339" y="518108"/>
                    <a:pt x="430664" y="566203"/>
                    <a:pt x="393500" y="598995"/>
                  </a:cubicBezTo>
                  <a:cubicBezTo>
                    <a:pt x="362895" y="625228"/>
                    <a:pt x="319172" y="638345"/>
                    <a:pt x="262333" y="638345"/>
                  </a:cubicBezTo>
                  <a:close/>
                  <a:moveTo>
                    <a:pt x="137725" y="500620"/>
                  </a:moveTo>
                  <a:lnTo>
                    <a:pt x="257961" y="500620"/>
                  </a:lnTo>
                  <a:cubicBezTo>
                    <a:pt x="288567" y="500620"/>
                    <a:pt x="314800" y="478758"/>
                    <a:pt x="319172" y="445967"/>
                  </a:cubicBezTo>
                  <a:lnTo>
                    <a:pt x="319172" y="196750"/>
                  </a:lnTo>
                  <a:cubicBezTo>
                    <a:pt x="319172" y="163958"/>
                    <a:pt x="290753" y="135539"/>
                    <a:pt x="255775" y="135539"/>
                  </a:cubicBezTo>
                  <a:lnTo>
                    <a:pt x="135539" y="135539"/>
                  </a:lnTo>
                  <a:lnTo>
                    <a:pt x="135539" y="500620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" name="Freihandform: Form 23">
              <a:extLst>
                <a:ext uri="{FF2B5EF4-FFF2-40B4-BE49-F238E27FC236}">
                  <a16:creationId xmlns:a16="http://schemas.microsoft.com/office/drawing/2014/main" id="{31A9B081-97C2-20F7-6A5C-7C4D15054E6D}"/>
                </a:ext>
              </a:extLst>
            </p:cNvPr>
            <p:cNvSpPr/>
            <p:nvPr/>
          </p:nvSpPr>
          <p:spPr>
            <a:xfrm>
              <a:off x="3612836" y="4495188"/>
              <a:ext cx="461269" cy="638344"/>
            </a:xfrm>
            <a:custGeom>
              <a:avLst/>
              <a:gdLst>
                <a:gd name="connsiteX0" fmla="*/ 461269 w 461269"/>
                <a:gd name="connsiteY0" fmla="*/ 638345 h 638344"/>
                <a:gd name="connsiteX1" fmla="*/ 323544 w 461269"/>
                <a:gd name="connsiteY1" fmla="*/ 638345 h 638344"/>
                <a:gd name="connsiteX2" fmla="*/ 323544 w 461269"/>
                <a:gd name="connsiteY2" fmla="*/ 487503 h 638344"/>
                <a:gd name="connsiteX3" fmla="*/ 137725 w 461269"/>
                <a:gd name="connsiteY3" fmla="*/ 487503 h 638344"/>
                <a:gd name="connsiteX4" fmla="*/ 137725 w 461269"/>
                <a:gd name="connsiteY4" fmla="*/ 638345 h 638344"/>
                <a:gd name="connsiteX5" fmla="*/ 0 w 461269"/>
                <a:gd name="connsiteY5" fmla="*/ 638345 h 638344"/>
                <a:gd name="connsiteX6" fmla="*/ 0 w 461269"/>
                <a:gd name="connsiteY6" fmla="*/ 188006 h 638344"/>
                <a:gd name="connsiteX7" fmla="*/ 190192 w 461269"/>
                <a:gd name="connsiteY7" fmla="*/ 0 h 638344"/>
                <a:gd name="connsiteX8" fmla="*/ 268892 w 461269"/>
                <a:gd name="connsiteY8" fmla="*/ 0 h 638344"/>
                <a:gd name="connsiteX9" fmla="*/ 461269 w 461269"/>
                <a:gd name="connsiteY9" fmla="*/ 192378 h 638344"/>
                <a:gd name="connsiteX10" fmla="*/ 461269 w 461269"/>
                <a:gd name="connsiteY10" fmla="*/ 638345 h 638344"/>
                <a:gd name="connsiteX11" fmla="*/ 137725 w 461269"/>
                <a:gd name="connsiteY11" fmla="*/ 351964 h 638344"/>
                <a:gd name="connsiteX12" fmla="*/ 323544 w 461269"/>
                <a:gd name="connsiteY12" fmla="*/ 351964 h 638344"/>
                <a:gd name="connsiteX13" fmla="*/ 323544 w 461269"/>
                <a:gd name="connsiteY13" fmla="*/ 201122 h 638344"/>
                <a:gd name="connsiteX14" fmla="*/ 262333 w 461269"/>
                <a:gd name="connsiteY14" fmla="*/ 135539 h 638344"/>
                <a:gd name="connsiteX15" fmla="*/ 198936 w 461269"/>
                <a:gd name="connsiteY15" fmla="*/ 135539 h 638344"/>
                <a:gd name="connsiteX16" fmla="*/ 137725 w 461269"/>
                <a:gd name="connsiteY16" fmla="*/ 194564 h 638344"/>
                <a:gd name="connsiteX17" fmla="*/ 137725 w 461269"/>
                <a:gd name="connsiteY17" fmla="*/ 351964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61269" h="638344">
                  <a:moveTo>
                    <a:pt x="461269" y="638345"/>
                  </a:moveTo>
                  <a:lnTo>
                    <a:pt x="323544" y="638345"/>
                  </a:lnTo>
                  <a:lnTo>
                    <a:pt x="323544" y="487503"/>
                  </a:lnTo>
                  <a:lnTo>
                    <a:pt x="137725" y="487503"/>
                  </a:lnTo>
                  <a:lnTo>
                    <a:pt x="137725" y="638345"/>
                  </a:lnTo>
                  <a:lnTo>
                    <a:pt x="0" y="638345"/>
                  </a:lnTo>
                  <a:lnTo>
                    <a:pt x="0" y="188006"/>
                  </a:lnTo>
                  <a:cubicBezTo>
                    <a:pt x="0" y="61211"/>
                    <a:pt x="63397" y="0"/>
                    <a:pt x="190192" y="0"/>
                  </a:cubicBezTo>
                  <a:lnTo>
                    <a:pt x="268892" y="0"/>
                  </a:lnTo>
                  <a:cubicBezTo>
                    <a:pt x="397872" y="0"/>
                    <a:pt x="461269" y="63397"/>
                    <a:pt x="461269" y="192378"/>
                  </a:cubicBezTo>
                  <a:lnTo>
                    <a:pt x="461269" y="638345"/>
                  </a:lnTo>
                  <a:close/>
                  <a:moveTo>
                    <a:pt x="137725" y="351964"/>
                  </a:moveTo>
                  <a:lnTo>
                    <a:pt x="323544" y="351964"/>
                  </a:lnTo>
                  <a:lnTo>
                    <a:pt x="323544" y="201122"/>
                  </a:lnTo>
                  <a:cubicBezTo>
                    <a:pt x="323544" y="163958"/>
                    <a:pt x="295125" y="135539"/>
                    <a:pt x="262333" y="135539"/>
                  </a:cubicBezTo>
                  <a:lnTo>
                    <a:pt x="198936" y="135539"/>
                  </a:lnTo>
                  <a:cubicBezTo>
                    <a:pt x="163958" y="135539"/>
                    <a:pt x="137725" y="161772"/>
                    <a:pt x="137725" y="194564"/>
                  </a:cubicBezTo>
                  <a:lnTo>
                    <a:pt x="137725" y="351964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id="{6C07CA86-CC65-AF69-8C6B-50AC00EAE161}"/>
                </a:ext>
              </a:extLst>
            </p:cNvPr>
            <p:cNvSpPr/>
            <p:nvPr/>
          </p:nvSpPr>
          <p:spPr>
            <a:xfrm>
              <a:off x="4205272" y="4495188"/>
              <a:ext cx="327916" cy="638344"/>
            </a:xfrm>
            <a:custGeom>
              <a:avLst/>
              <a:gdLst>
                <a:gd name="connsiteX0" fmla="*/ 327917 w 327916"/>
                <a:gd name="connsiteY0" fmla="*/ 638345 h 638344"/>
                <a:gd name="connsiteX1" fmla="*/ 0 w 327916"/>
                <a:gd name="connsiteY1" fmla="*/ 638345 h 638344"/>
                <a:gd name="connsiteX2" fmla="*/ 0 w 327916"/>
                <a:gd name="connsiteY2" fmla="*/ 0 h 638344"/>
                <a:gd name="connsiteX3" fmla="*/ 137725 w 327916"/>
                <a:gd name="connsiteY3" fmla="*/ 0 h 638344"/>
                <a:gd name="connsiteX4" fmla="*/ 137725 w 327916"/>
                <a:gd name="connsiteY4" fmla="*/ 500620 h 638344"/>
                <a:gd name="connsiteX5" fmla="*/ 327917 w 327916"/>
                <a:gd name="connsiteY5" fmla="*/ 500620 h 638344"/>
                <a:gd name="connsiteX6" fmla="*/ 327917 w 327916"/>
                <a:gd name="connsiteY6" fmla="*/ 638345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7916" h="638344">
                  <a:moveTo>
                    <a:pt x="327917" y="638345"/>
                  </a:moveTo>
                  <a:lnTo>
                    <a:pt x="0" y="638345"/>
                  </a:lnTo>
                  <a:lnTo>
                    <a:pt x="0" y="0"/>
                  </a:lnTo>
                  <a:lnTo>
                    <a:pt x="137725" y="0"/>
                  </a:lnTo>
                  <a:lnTo>
                    <a:pt x="137725" y="500620"/>
                  </a:lnTo>
                  <a:lnTo>
                    <a:pt x="327917" y="500620"/>
                  </a:lnTo>
                  <a:lnTo>
                    <a:pt x="327917" y="638345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" name="Freihandform: Form 25">
              <a:extLst>
                <a:ext uri="{FF2B5EF4-FFF2-40B4-BE49-F238E27FC236}">
                  <a16:creationId xmlns:a16="http://schemas.microsoft.com/office/drawing/2014/main" id="{AF03A757-4A87-6815-B48B-65B9C776377A}"/>
                </a:ext>
              </a:extLst>
            </p:cNvPr>
            <p:cNvSpPr/>
            <p:nvPr/>
          </p:nvSpPr>
          <p:spPr>
            <a:xfrm>
              <a:off x="4627192" y="4495188"/>
              <a:ext cx="327916" cy="638344"/>
            </a:xfrm>
            <a:custGeom>
              <a:avLst/>
              <a:gdLst>
                <a:gd name="connsiteX0" fmla="*/ 325730 w 327916"/>
                <a:gd name="connsiteY0" fmla="*/ 638345 h 638344"/>
                <a:gd name="connsiteX1" fmla="*/ 0 w 327916"/>
                <a:gd name="connsiteY1" fmla="*/ 638345 h 638344"/>
                <a:gd name="connsiteX2" fmla="*/ 0 w 327916"/>
                <a:gd name="connsiteY2" fmla="*/ 0 h 638344"/>
                <a:gd name="connsiteX3" fmla="*/ 137725 w 327916"/>
                <a:gd name="connsiteY3" fmla="*/ 0 h 638344"/>
                <a:gd name="connsiteX4" fmla="*/ 137725 w 327916"/>
                <a:gd name="connsiteY4" fmla="*/ 500620 h 638344"/>
                <a:gd name="connsiteX5" fmla="*/ 327917 w 327916"/>
                <a:gd name="connsiteY5" fmla="*/ 500620 h 638344"/>
                <a:gd name="connsiteX6" fmla="*/ 327917 w 327916"/>
                <a:gd name="connsiteY6" fmla="*/ 638345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7916" h="638344">
                  <a:moveTo>
                    <a:pt x="325730" y="638345"/>
                  </a:moveTo>
                  <a:lnTo>
                    <a:pt x="0" y="638345"/>
                  </a:lnTo>
                  <a:lnTo>
                    <a:pt x="0" y="0"/>
                  </a:lnTo>
                  <a:lnTo>
                    <a:pt x="137725" y="0"/>
                  </a:lnTo>
                  <a:lnTo>
                    <a:pt x="137725" y="500620"/>
                  </a:lnTo>
                  <a:lnTo>
                    <a:pt x="327917" y="500620"/>
                  </a:lnTo>
                  <a:lnTo>
                    <a:pt x="327917" y="638345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7EA6662F-D9A6-E4FF-5F1E-90BEE28F5DEE}"/>
                </a:ext>
              </a:extLst>
            </p:cNvPr>
            <p:cNvSpPr/>
            <p:nvPr/>
          </p:nvSpPr>
          <p:spPr>
            <a:xfrm>
              <a:off x="5849228" y="4495188"/>
              <a:ext cx="349777" cy="638344"/>
            </a:xfrm>
            <a:custGeom>
              <a:avLst/>
              <a:gdLst>
                <a:gd name="connsiteX0" fmla="*/ 349778 w 349777"/>
                <a:gd name="connsiteY0" fmla="*/ 638345 h 638344"/>
                <a:gd name="connsiteX1" fmla="*/ 0 w 349777"/>
                <a:gd name="connsiteY1" fmla="*/ 638345 h 638344"/>
                <a:gd name="connsiteX2" fmla="*/ 0 w 349777"/>
                <a:gd name="connsiteY2" fmla="*/ 0 h 638344"/>
                <a:gd name="connsiteX3" fmla="*/ 349778 w 349777"/>
                <a:gd name="connsiteY3" fmla="*/ 0 h 638344"/>
                <a:gd name="connsiteX4" fmla="*/ 349778 w 349777"/>
                <a:gd name="connsiteY4" fmla="*/ 137725 h 638344"/>
                <a:gd name="connsiteX5" fmla="*/ 137725 w 349777"/>
                <a:gd name="connsiteY5" fmla="*/ 137725 h 638344"/>
                <a:gd name="connsiteX6" fmla="*/ 137725 w 349777"/>
                <a:gd name="connsiteY6" fmla="*/ 251403 h 638344"/>
                <a:gd name="connsiteX7" fmla="*/ 349778 w 349777"/>
                <a:gd name="connsiteY7" fmla="*/ 251403 h 638344"/>
                <a:gd name="connsiteX8" fmla="*/ 349778 w 349777"/>
                <a:gd name="connsiteY8" fmla="*/ 389128 h 638344"/>
                <a:gd name="connsiteX9" fmla="*/ 137725 w 349777"/>
                <a:gd name="connsiteY9" fmla="*/ 389128 h 638344"/>
                <a:gd name="connsiteX10" fmla="*/ 137725 w 349777"/>
                <a:gd name="connsiteY10" fmla="*/ 500620 h 638344"/>
                <a:gd name="connsiteX11" fmla="*/ 349778 w 349777"/>
                <a:gd name="connsiteY11" fmla="*/ 500620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49777" h="638344">
                  <a:moveTo>
                    <a:pt x="349778" y="638345"/>
                  </a:moveTo>
                  <a:lnTo>
                    <a:pt x="0" y="638345"/>
                  </a:lnTo>
                  <a:lnTo>
                    <a:pt x="0" y="0"/>
                  </a:lnTo>
                  <a:lnTo>
                    <a:pt x="349778" y="0"/>
                  </a:lnTo>
                  <a:lnTo>
                    <a:pt x="349778" y="137725"/>
                  </a:lnTo>
                  <a:lnTo>
                    <a:pt x="137725" y="137725"/>
                  </a:lnTo>
                  <a:lnTo>
                    <a:pt x="137725" y="251403"/>
                  </a:lnTo>
                  <a:lnTo>
                    <a:pt x="349778" y="251403"/>
                  </a:lnTo>
                  <a:lnTo>
                    <a:pt x="349778" y="389128"/>
                  </a:lnTo>
                  <a:lnTo>
                    <a:pt x="137725" y="389128"/>
                  </a:lnTo>
                  <a:lnTo>
                    <a:pt x="137725" y="500620"/>
                  </a:lnTo>
                  <a:lnTo>
                    <a:pt x="349778" y="500620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id="{CEF51744-D32D-3344-734E-CC6EDA2B7051}"/>
                </a:ext>
              </a:extLst>
            </p:cNvPr>
            <p:cNvSpPr/>
            <p:nvPr/>
          </p:nvSpPr>
          <p:spPr>
            <a:xfrm>
              <a:off x="6321428" y="4495188"/>
              <a:ext cx="441594" cy="638344"/>
            </a:xfrm>
            <a:custGeom>
              <a:avLst/>
              <a:gdLst>
                <a:gd name="connsiteX0" fmla="*/ 439408 w 441594"/>
                <a:gd name="connsiteY0" fmla="*/ 450339 h 638344"/>
                <a:gd name="connsiteX1" fmla="*/ 391314 w 441594"/>
                <a:gd name="connsiteY1" fmla="*/ 360708 h 638344"/>
                <a:gd name="connsiteX2" fmla="*/ 439408 w 441594"/>
                <a:gd name="connsiteY2" fmla="*/ 273264 h 638344"/>
                <a:gd name="connsiteX3" fmla="*/ 439408 w 441594"/>
                <a:gd name="connsiteY3" fmla="*/ 179261 h 638344"/>
                <a:gd name="connsiteX4" fmla="*/ 266706 w 441594"/>
                <a:gd name="connsiteY4" fmla="*/ 0 h 638344"/>
                <a:gd name="connsiteX5" fmla="*/ 0 w 441594"/>
                <a:gd name="connsiteY5" fmla="*/ 0 h 638344"/>
                <a:gd name="connsiteX6" fmla="*/ 0 w 441594"/>
                <a:gd name="connsiteY6" fmla="*/ 638345 h 638344"/>
                <a:gd name="connsiteX7" fmla="*/ 137725 w 441594"/>
                <a:gd name="connsiteY7" fmla="*/ 638345 h 638344"/>
                <a:gd name="connsiteX8" fmla="*/ 137725 w 441594"/>
                <a:gd name="connsiteY8" fmla="*/ 435036 h 638344"/>
                <a:gd name="connsiteX9" fmla="*/ 251403 w 441594"/>
                <a:gd name="connsiteY9" fmla="*/ 435036 h 638344"/>
                <a:gd name="connsiteX10" fmla="*/ 314800 w 441594"/>
                <a:gd name="connsiteY10" fmla="*/ 500620 h 638344"/>
                <a:gd name="connsiteX11" fmla="*/ 314800 w 441594"/>
                <a:gd name="connsiteY11" fmla="*/ 638345 h 638344"/>
                <a:gd name="connsiteX12" fmla="*/ 441594 w 441594"/>
                <a:gd name="connsiteY12" fmla="*/ 638345 h 638344"/>
                <a:gd name="connsiteX13" fmla="*/ 439408 w 441594"/>
                <a:gd name="connsiteY13" fmla="*/ 450339 h 638344"/>
                <a:gd name="connsiteX14" fmla="*/ 312614 w 441594"/>
                <a:gd name="connsiteY14" fmla="*/ 244844 h 638344"/>
                <a:gd name="connsiteX15" fmla="*/ 251403 w 441594"/>
                <a:gd name="connsiteY15" fmla="*/ 306056 h 638344"/>
                <a:gd name="connsiteX16" fmla="*/ 137725 w 441594"/>
                <a:gd name="connsiteY16" fmla="*/ 306056 h 638344"/>
                <a:gd name="connsiteX17" fmla="*/ 137725 w 441594"/>
                <a:gd name="connsiteY17" fmla="*/ 135539 h 638344"/>
                <a:gd name="connsiteX18" fmla="*/ 251403 w 441594"/>
                <a:gd name="connsiteY18" fmla="*/ 135539 h 638344"/>
                <a:gd name="connsiteX19" fmla="*/ 314800 w 441594"/>
                <a:gd name="connsiteY19" fmla="*/ 196750 h 638344"/>
                <a:gd name="connsiteX20" fmla="*/ 314800 w 441594"/>
                <a:gd name="connsiteY20" fmla="*/ 244844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41594" h="638344">
                  <a:moveTo>
                    <a:pt x="439408" y="450339"/>
                  </a:moveTo>
                  <a:cubicBezTo>
                    <a:pt x="439408" y="395686"/>
                    <a:pt x="406617" y="369453"/>
                    <a:pt x="391314" y="360708"/>
                  </a:cubicBezTo>
                  <a:cubicBezTo>
                    <a:pt x="408803" y="349778"/>
                    <a:pt x="439408" y="323545"/>
                    <a:pt x="439408" y="273264"/>
                  </a:cubicBezTo>
                  <a:cubicBezTo>
                    <a:pt x="439408" y="238286"/>
                    <a:pt x="439408" y="179261"/>
                    <a:pt x="439408" y="179261"/>
                  </a:cubicBezTo>
                  <a:cubicBezTo>
                    <a:pt x="439408" y="26233"/>
                    <a:pt x="384755" y="0"/>
                    <a:pt x="266706" y="0"/>
                  </a:cubicBezTo>
                  <a:lnTo>
                    <a:pt x="0" y="0"/>
                  </a:lnTo>
                  <a:lnTo>
                    <a:pt x="0" y="638345"/>
                  </a:lnTo>
                  <a:lnTo>
                    <a:pt x="137725" y="638345"/>
                  </a:lnTo>
                  <a:lnTo>
                    <a:pt x="137725" y="435036"/>
                  </a:lnTo>
                  <a:lnTo>
                    <a:pt x="251403" y="435036"/>
                  </a:lnTo>
                  <a:cubicBezTo>
                    <a:pt x="301683" y="435036"/>
                    <a:pt x="314800" y="459083"/>
                    <a:pt x="314800" y="500620"/>
                  </a:cubicBezTo>
                  <a:lnTo>
                    <a:pt x="314800" y="638345"/>
                  </a:lnTo>
                  <a:lnTo>
                    <a:pt x="441594" y="638345"/>
                  </a:lnTo>
                  <a:lnTo>
                    <a:pt x="439408" y="450339"/>
                  </a:lnTo>
                  <a:close/>
                  <a:moveTo>
                    <a:pt x="312614" y="244844"/>
                  </a:moveTo>
                  <a:cubicBezTo>
                    <a:pt x="312614" y="277636"/>
                    <a:pt x="284195" y="306056"/>
                    <a:pt x="251403" y="306056"/>
                  </a:cubicBezTo>
                  <a:lnTo>
                    <a:pt x="137725" y="306056"/>
                  </a:lnTo>
                  <a:lnTo>
                    <a:pt x="137725" y="135539"/>
                  </a:lnTo>
                  <a:lnTo>
                    <a:pt x="251403" y="135539"/>
                  </a:lnTo>
                  <a:cubicBezTo>
                    <a:pt x="290753" y="135539"/>
                    <a:pt x="314800" y="166144"/>
                    <a:pt x="314800" y="196750"/>
                  </a:cubicBezTo>
                  <a:lnTo>
                    <a:pt x="314800" y="244844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id="{D7F20FC5-F85D-39CE-C9D3-9D4BBA9B292D}"/>
                </a:ext>
              </a:extLst>
            </p:cNvPr>
            <p:cNvSpPr/>
            <p:nvPr/>
          </p:nvSpPr>
          <p:spPr>
            <a:xfrm>
              <a:off x="5055670" y="4495188"/>
              <a:ext cx="675508" cy="642716"/>
            </a:xfrm>
            <a:custGeom>
              <a:avLst/>
              <a:gdLst>
                <a:gd name="connsiteX0" fmla="*/ 489689 w 675508"/>
                <a:gd name="connsiteY0" fmla="*/ 0 h 642716"/>
                <a:gd name="connsiteX1" fmla="*/ 424106 w 675508"/>
                <a:gd name="connsiteY1" fmla="*/ 0 h 642716"/>
                <a:gd name="connsiteX2" fmla="*/ 334475 w 675508"/>
                <a:gd name="connsiteY2" fmla="*/ 48094 h 642716"/>
                <a:gd name="connsiteX3" fmla="*/ 247031 w 675508"/>
                <a:gd name="connsiteY3" fmla="*/ 0 h 642716"/>
                <a:gd name="connsiteX4" fmla="*/ 181447 w 675508"/>
                <a:gd name="connsiteY4" fmla="*/ 0 h 642716"/>
                <a:gd name="connsiteX5" fmla="*/ 0 w 675508"/>
                <a:gd name="connsiteY5" fmla="*/ 192378 h 642716"/>
                <a:gd name="connsiteX6" fmla="*/ 0 w 675508"/>
                <a:gd name="connsiteY6" fmla="*/ 640531 h 642716"/>
                <a:gd name="connsiteX7" fmla="*/ 135539 w 675508"/>
                <a:gd name="connsiteY7" fmla="*/ 640531 h 642716"/>
                <a:gd name="connsiteX8" fmla="*/ 135539 w 675508"/>
                <a:gd name="connsiteY8" fmla="*/ 177075 h 642716"/>
                <a:gd name="connsiteX9" fmla="*/ 139911 w 675508"/>
                <a:gd name="connsiteY9" fmla="*/ 155214 h 642716"/>
                <a:gd name="connsiteX10" fmla="*/ 155214 w 675508"/>
                <a:gd name="connsiteY10" fmla="*/ 150842 h 642716"/>
                <a:gd name="connsiteX11" fmla="*/ 249217 w 675508"/>
                <a:gd name="connsiteY11" fmla="*/ 150842 h 642716"/>
                <a:gd name="connsiteX12" fmla="*/ 264519 w 675508"/>
                <a:gd name="connsiteY12" fmla="*/ 155214 h 642716"/>
                <a:gd name="connsiteX13" fmla="*/ 268892 w 675508"/>
                <a:gd name="connsiteY13" fmla="*/ 179261 h 642716"/>
                <a:gd name="connsiteX14" fmla="*/ 268892 w 675508"/>
                <a:gd name="connsiteY14" fmla="*/ 642717 h 642716"/>
                <a:gd name="connsiteX15" fmla="*/ 268892 w 675508"/>
                <a:gd name="connsiteY15" fmla="*/ 642717 h 642716"/>
                <a:gd name="connsiteX16" fmla="*/ 406617 w 675508"/>
                <a:gd name="connsiteY16" fmla="*/ 642717 h 642716"/>
                <a:gd name="connsiteX17" fmla="*/ 406617 w 675508"/>
                <a:gd name="connsiteY17" fmla="*/ 179261 h 642716"/>
                <a:gd name="connsiteX18" fmla="*/ 410989 w 675508"/>
                <a:gd name="connsiteY18" fmla="*/ 155214 h 642716"/>
                <a:gd name="connsiteX19" fmla="*/ 426292 w 675508"/>
                <a:gd name="connsiteY19" fmla="*/ 150842 h 642716"/>
                <a:gd name="connsiteX20" fmla="*/ 520294 w 675508"/>
                <a:gd name="connsiteY20" fmla="*/ 150842 h 642716"/>
                <a:gd name="connsiteX21" fmla="*/ 535597 w 675508"/>
                <a:gd name="connsiteY21" fmla="*/ 155214 h 642716"/>
                <a:gd name="connsiteX22" fmla="*/ 539970 w 675508"/>
                <a:gd name="connsiteY22" fmla="*/ 177075 h 642716"/>
                <a:gd name="connsiteX23" fmla="*/ 539970 w 675508"/>
                <a:gd name="connsiteY23" fmla="*/ 640531 h 642716"/>
                <a:gd name="connsiteX24" fmla="*/ 675509 w 675508"/>
                <a:gd name="connsiteY24" fmla="*/ 640531 h 642716"/>
                <a:gd name="connsiteX25" fmla="*/ 675509 w 675508"/>
                <a:gd name="connsiteY25" fmla="*/ 192378 h 642716"/>
                <a:gd name="connsiteX26" fmla="*/ 489689 w 675508"/>
                <a:gd name="connsiteY26" fmla="*/ 0 h 642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75508" h="642716">
                  <a:moveTo>
                    <a:pt x="489689" y="0"/>
                  </a:moveTo>
                  <a:lnTo>
                    <a:pt x="424106" y="0"/>
                  </a:lnTo>
                  <a:cubicBezTo>
                    <a:pt x="369453" y="0"/>
                    <a:pt x="343220" y="32792"/>
                    <a:pt x="334475" y="48094"/>
                  </a:cubicBezTo>
                  <a:cubicBezTo>
                    <a:pt x="323544" y="30606"/>
                    <a:pt x="297311" y="0"/>
                    <a:pt x="247031" y="0"/>
                  </a:cubicBezTo>
                  <a:lnTo>
                    <a:pt x="181447" y="0"/>
                  </a:lnTo>
                  <a:cubicBezTo>
                    <a:pt x="43722" y="0"/>
                    <a:pt x="0" y="26233"/>
                    <a:pt x="0" y="192378"/>
                  </a:cubicBezTo>
                  <a:lnTo>
                    <a:pt x="0" y="640531"/>
                  </a:lnTo>
                  <a:lnTo>
                    <a:pt x="135539" y="640531"/>
                  </a:lnTo>
                  <a:lnTo>
                    <a:pt x="135539" y="177075"/>
                  </a:lnTo>
                  <a:cubicBezTo>
                    <a:pt x="135539" y="163958"/>
                    <a:pt x="135539" y="157400"/>
                    <a:pt x="139911" y="155214"/>
                  </a:cubicBezTo>
                  <a:cubicBezTo>
                    <a:pt x="142097" y="153028"/>
                    <a:pt x="148655" y="150842"/>
                    <a:pt x="155214" y="150842"/>
                  </a:cubicBezTo>
                  <a:lnTo>
                    <a:pt x="249217" y="150842"/>
                  </a:lnTo>
                  <a:cubicBezTo>
                    <a:pt x="255775" y="150842"/>
                    <a:pt x="260147" y="150842"/>
                    <a:pt x="264519" y="155214"/>
                  </a:cubicBezTo>
                  <a:cubicBezTo>
                    <a:pt x="268892" y="159586"/>
                    <a:pt x="268892" y="163958"/>
                    <a:pt x="268892" y="179261"/>
                  </a:cubicBezTo>
                  <a:lnTo>
                    <a:pt x="268892" y="642717"/>
                  </a:lnTo>
                  <a:lnTo>
                    <a:pt x="268892" y="642717"/>
                  </a:lnTo>
                  <a:lnTo>
                    <a:pt x="406617" y="642717"/>
                  </a:lnTo>
                  <a:lnTo>
                    <a:pt x="406617" y="179261"/>
                  </a:lnTo>
                  <a:cubicBezTo>
                    <a:pt x="406617" y="166144"/>
                    <a:pt x="406617" y="159586"/>
                    <a:pt x="410989" y="155214"/>
                  </a:cubicBezTo>
                  <a:cubicBezTo>
                    <a:pt x="413175" y="153028"/>
                    <a:pt x="419734" y="150842"/>
                    <a:pt x="426292" y="150842"/>
                  </a:cubicBezTo>
                  <a:lnTo>
                    <a:pt x="520294" y="150842"/>
                  </a:lnTo>
                  <a:cubicBezTo>
                    <a:pt x="526853" y="150842"/>
                    <a:pt x="533411" y="150842"/>
                    <a:pt x="535597" y="155214"/>
                  </a:cubicBezTo>
                  <a:cubicBezTo>
                    <a:pt x="539970" y="159586"/>
                    <a:pt x="539970" y="163958"/>
                    <a:pt x="539970" y="177075"/>
                  </a:cubicBezTo>
                  <a:lnTo>
                    <a:pt x="539970" y="640531"/>
                  </a:lnTo>
                  <a:lnTo>
                    <a:pt x="675509" y="640531"/>
                  </a:lnTo>
                  <a:lnTo>
                    <a:pt x="675509" y="192378"/>
                  </a:lnTo>
                  <a:cubicBezTo>
                    <a:pt x="671136" y="26233"/>
                    <a:pt x="627414" y="0"/>
                    <a:pt x="489689" y="0"/>
                  </a:cubicBez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34" name="Bildplatzhalter 22">
            <a:extLst>
              <a:ext uri="{FF2B5EF4-FFF2-40B4-BE49-F238E27FC236}">
                <a16:creationId xmlns:a16="http://schemas.microsoft.com/office/drawing/2014/main" id="{073A642A-CED5-078E-30E4-9A81124F034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  <a:solidFill>
            <a:schemeClr val="tx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572895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dunkel+Bild rechts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4977EB5B-8228-C601-1176-E715BE9D4B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59346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77EB5B-8228-C601-1176-E715BE9D4B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F3D29DB-C29F-7E03-7D11-D8E722D7D8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91" y="404813"/>
            <a:ext cx="3298134" cy="83099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50FCC40-B9BD-CC74-817B-4FE8B7ABC4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91" y="2060847"/>
            <a:ext cx="3298134" cy="411611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Bildplatzhalter 22">
            <a:extLst>
              <a:ext uri="{FF2B5EF4-FFF2-40B4-BE49-F238E27FC236}">
                <a16:creationId xmlns:a16="http://schemas.microsoft.com/office/drawing/2014/main" id="{0CCE803F-76E1-51EF-2D37-8BB55EF492E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066125" y="0"/>
            <a:ext cx="8125875" cy="6858000"/>
          </a:xfrm>
          <a:solidFill>
            <a:schemeClr val="tx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grpSp>
        <p:nvGrpSpPr>
          <p:cNvPr id="6" name="Grafik 23">
            <a:extLst>
              <a:ext uri="{FF2B5EF4-FFF2-40B4-BE49-F238E27FC236}">
                <a16:creationId xmlns:a16="http://schemas.microsoft.com/office/drawing/2014/main" id="{E12EA9DF-0503-8AB7-98BD-A22FECBF6EF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07989" y="6453187"/>
            <a:ext cx="918000" cy="158572"/>
            <a:chOff x="3042261" y="4495188"/>
            <a:chExt cx="3720761" cy="642716"/>
          </a:xfrm>
          <a:solidFill>
            <a:schemeClr val="bg1"/>
          </a:solidFill>
        </p:grpSpPr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id="{F96E6D4A-14FA-8D5A-C3C3-71629B9D7262}"/>
                </a:ext>
              </a:extLst>
            </p:cNvPr>
            <p:cNvSpPr/>
            <p:nvPr/>
          </p:nvSpPr>
          <p:spPr>
            <a:xfrm>
              <a:off x="3042261" y="4495188"/>
              <a:ext cx="450339" cy="638344"/>
            </a:xfrm>
            <a:custGeom>
              <a:avLst/>
              <a:gdLst>
                <a:gd name="connsiteX0" fmla="*/ 262333 w 450339"/>
                <a:gd name="connsiteY0" fmla="*/ 638345 h 638344"/>
                <a:gd name="connsiteX1" fmla="*/ 251403 w 450339"/>
                <a:gd name="connsiteY1" fmla="*/ 638345 h 638344"/>
                <a:gd name="connsiteX2" fmla="*/ 0 w 450339"/>
                <a:gd name="connsiteY2" fmla="*/ 638345 h 638344"/>
                <a:gd name="connsiteX3" fmla="*/ 0 w 450339"/>
                <a:gd name="connsiteY3" fmla="*/ 0 h 638344"/>
                <a:gd name="connsiteX4" fmla="*/ 266706 w 450339"/>
                <a:gd name="connsiteY4" fmla="*/ 0 h 638344"/>
                <a:gd name="connsiteX5" fmla="*/ 450339 w 450339"/>
                <a:gd name="connsiteY5" fmla="*/ 192378 h 638344"/>
                <a:gd name="connsiteX6" fmla="*/ 450339 w 450339"/>
                <a:gd name="connsiteY6" fmla="*/ 452525 h 638344"/>
                <a:gd name="connsiteX7" fmla="*/ 393500 w 450339"/>
                <a:gd name="connsiteY7" fmla="*/ 598995 h 638344"/>
                <a:gd name="connsiteX8" fmla="*/ 262333 w 450339"/>
                <a:gd name="connsiteY8" fmla="*/ 638345 h 638344"/>
                <a:gd name="connsiteX9" fmla="*/ 137725 w 450339"/>
                <a:gd name="connsiteY9" fmla="*/ 500620 h 638344"/>
                <a:gd name="connsiteX10" fmla="*/ 257961 w 450339"/>
                <a:gd name="connsiteY10" fmla="*/ 500620 h 638344"/>
                <a:gd name="connsiteX11" fmla="*/ 319172 w 450339"/>
                <a:gd name="connsiteY11" fmla="*/ 445967 h 638344"/>
                <a:gd name="connsiteX12" fmla="*/ 319172 w 450339"/>
                <a:gd name="connsiteY12" fmla="*/ 196750 h 638344"/>
                <a:gd name="connsiteX13" fmla="*/ 255775 w 450339"/>
                <a:gd name="connsiteY13" fmla="*/ 135539 h 638344"/>
                <a:gd name="connsiteX14" fmla="*/ 135539 w 450339"/>
                <a:gd name="connsiteY14" fmla="*/ 135539 h 638344"/>
                <a:gd name="connsiteX15" fmla="*/ 135539 w 450339"/>
                <a:gd name="connsiteY15" fmla="*/ 500620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0339" h="638344">
                  <a:moveTo>
                    <a:pt x="262333" y="638345"/>
                  </a:moveTo>
                  <a:cubicBezTo>
                    <a:pt x="257961" y="638345"/>
                    <a:pt x="255775" y="638345"/>
                    <a:pt x="251403" y="638345"/>
                  </a:cubicBezTo>
                  <a:lnTo>
                    <a:pt x="0" y="638345"/>
                  </a:lnTo>
                  <a:lnTo>
                    <a:pt x="0" y="0"/>
                  </a:lnTo>
                  <a:lnTo>
                    <a:pt x="266706" y="0"/>
                  </a:lnTo>
                  <a:cubicBezTo>
                    <a:pt x="391314" y="0"/>
                    <a:pt x="450339" y="61211"/>
                    <a:pt x="450339" y="192378"/>
                  </a:cubicBezTo>
                  <a:lnTo>
                    <a:pt x="450339" y="452525"/>
                  </a:lnTo>
                  <a:cubicBezTo>
                    <a:pt x="450339" y="518108"/>
                    <a:pt x="430664" y="566203"/>
                    <a:pt x="393500" y="598995"/>
                  </a:cubicBezTo>
                  <a:cubicBezTo>
                    <a:pt x="362895" y="625228"/>
                    <a:pt x="319172" y="638345"/>
                    <a:pt x="262333" y="638345"/>
                  </a:cubicBezTo>
                  <a:close/>
                  <a:moveTo>
                    <a:pt x="137725" y="500620"/>
                  </a:moveTo>
                  <a:lnTo>
                    <a:pt x="257961" y="500620"/>
                  </a:lnTo>
                  <a:cubicBezTo>
                    <a:pt x="288567" y="500620"/>
                    <a:pt x="314800" y="478758"/>
                    <a:pt x="319172" y="445967"/>
                  </a:cubicBezTo>
                  <a:lnTo>
                    <a:pt x="319172" y="196750"/>
                  </a:lnTo>
                  <a:cubicBezTo>
                    <a:pt x="319172" y="163958"/>
                    <a:pt x="290753" y="135539"/>
                    <a:pt x="255775" y="135539"/>
                  </a:cubicBezTo>
                  <a:lnTo>
                    <a:pt x="135539" y="135539"/>
                  </a:lnTo>
                  <a:lnTo>
                    <a:pt x="135539" y="500620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66E460CC-F1A0-35EE-BAB5-DBE00E25E3BF}"/>
                </a:ext>
              </a:extLst>
            </p:cNvPr>
            <p:cNvSpPr/>
            <p:nvPr/>
          </p:nvSpPr>
          <p:spPr>
            <a:xfrm>
              <a:off x="3612836" y="4495188"/>
              <a:ext cx="461269" cy="638344"/>
            </a:xfrm>
            <a:custGeom>
              <a:avLst/>
              <a:gdLst>
                <a:gd name="connsiteX0" fmla="*/ 461269 w 461269"/>
                <a:gd name="connsiteY0" fmla="*/ 638345 h 638344"/>
                <a:gd name="connsiteX1" fmla="*/ 323544 w 461269"/>
                <a:gd name="connsiteY1" fmla="*/ 638345 h 638344"/>
                <a:gd name="connsiteX2" fmla="*/ 323544 w 461269"/>
                <a:gd name="connsiteY2" fmla="*/ 487503 h 638344"/>
                <a:gd name="connsiteX3" fmla="*/ 137725 w 461269"/>
                <a:gd name="connsiteY3" fmla="*/ 487503 h 638344"/>
                <a:gd name="connsiteX4" fmla="*/ 137725 w 461269"/>
                <a:gd name="connsiteY4" fmla="*/ 638345 h 638344"/>
                <a:gd name="connsiteX5" fmla="*/ 0 w 461269"/>
                <a:gd name="connsiteY5" fmla="*/ 638345 h 638344"/>
                <a:gd name="connsiteX6" fmla="*/ 0 w 461269"/>
                <a:gd name="connsiteY6" fmla="*/ 188006 h 638344"/>
                <a:gd name="connsiteX7" fmla="*/ 190192 w 461269"/>
                <a:gd name="connsiteY7" fmla="*/ 0 h 638344"/>
                <a:gd name="connsiteX8" fmla="*/ 268892 w 461269"/>
                <a:gd name="connsiteY8" fmla="*/ 0 h 638344"/>
                <a:gd name="connsiteX9" fmla="*/ 461269 w 461269"/>
                <a:gd name="connsiteY9" fmla="*/ 192378 h 638344"/>
                <a:gd name="connsiteX10" fmla="*/ 461269 w 461269"/>
                <a:gd name="connsiteY10" fmla="*/ 638345 h 638344"/>
                <a:gd name="connsiteX11" fmla="*/ 137725 w 461269"/>
                <a:gd name="connsiteY11" fmla="*/ 351964 h 638344"/>
                <a:gd name="connsiteX12" fmla="*/ 323544 w 461269"/>
                <a:gd name="connsiteY12" fmla="*/ 351964 h 638344"/>
                <a:gd name="connsiteX13" fmla="*/ 323544 w 461269"/>
                <a:gd name="connsiteY13" fmla="*/ 201122 h 638344"/>
                <a:gd name="connsiteX14" fmla="*/ 262333 w 461269"/>
                <a:gd name="connsiteY14" fmla="*/ 135539 h 638344"/>
                <a:gd name="connsiteX15" fmla="*/ 198936 w 461269"/>
                <a:gd name="connsiteY15" fmla="*/ 135539 h 638344"/>
                <a:gd name="connsiteX16" fmla="*/ 137725 w 461269"/>
                <a:gd name="connsiteY16" fmla="*/ 194564 h 638344"/>
                <a:gd name="connsiteX17" fmla="*/ 137725 w 461269"/>
                <a:gd name="connsiteY17" fmla="*/ 351964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61269" h="638344">
                  <a:moveTo>
                    <a:pt x="461269" y="638345"/>
                  </a:moveTo>
                  <a:lnTo>
                    <a:pt x="323544" y="638345"/>
                  </a:lnTo>
                  <a:lnTo>
                    <a:pt x="323544" y="487503"/>
                  </a:lnTo>
                  <a:lnTo>
                    <a:pt x="137725" y="487503"/>
                  </a:lnTo>
                  <a:lnTo>
                    <a:pt x="137725" y="638345"/>
                  </a:lnTo>
                  <a:lnTo>
                    <a:pt x="0" y="638345"/>
                  </a:lnTo>
                  <a:lnTo>
                    <a:pt x="0" y="188006"/>
                  </a:lnTo>
                  <a:cubicBezTo>
                    <a:pt x="0" y="61211"/>
                    <a:pt x="63397" y="0"/>
                    <a:pt x="190192" y="0"/>
                  </a:cubicBezTo>
                  <a:lnTo>
                    <a:pt x="268892" y="0"/>
                  </a:lnTo>
                  <a:cubicBezTo>
                    <a:pt x="397872" y="0"/>
                    <a:pt x="461269" y="63397"/>
                    <a:pt x="461269" y="192378"/>
                  </a:cubicBezTo>
                  <a:lnTo>
                    <a:pt x="461269" y="638345"/>
                  </a:lnTo>
                  <a:close/>
                  <a:moveTo>
                    <a:pt x="137725" y="351964"/>
                  </a:moveTo>
                  <a:lnTo>
                    <a:pt x="323544" y="351964"/>
                  </a:lnTo>
                  <a:lnTo>
                    <a:pt x="323544" y="201122"/>
                  </a:lnTo>
                  <a:cubicBezTo>
                    <a:pt x="323544" y="163958"/>
                    <a:pt x="295125" y="135539"/>
                    <a:pt x="262333" y="135539"/>
                  </a:cubicBezTo>
                  <a:lnTo>
                    <a:pt x="198936" y="135539"/>
                  </a:lnTo>
                  <a:cubicBezTo>
                    <a:pt x="163958" y="135539"/>
                    <a:pt x="137725" y="161772"/>
                    <a:pt x="137725" y="194564"/>
                  </a:cubicBezTo>
                  <a:lnTo>
                    <a:pt x="137725" y="351964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671305F5-0F89-01E0-A05C-86EC8B4F7981}"/>
                </a:ext>
              </a:extLst>
            </p:cNvPr>
            <p:cNvSpPr/>
            <p:nvPr/>
          </p:nvSpPr>
          <p:spPr>
            <a:xfrm>
              <a:off x="4205272" y="4495188"/>
              <a:ext cx="327916" cy="638344"/>
            </a:xfrm>
            <a:custGeom>
              <a:avLst/>
              <a:gdLst>
                <a:gd name="connsiteX0" fmla="*/ 327917 w 327916"/>
                <a:gd name="connsiteY0" fmla="*/ 638345 h 638344"/>
                <a:gd name="connsiteX1" fmla="*/ 0 w 327916"/>
                <a:gd name="connsiteY1" fmla="*/ 638345 h 638344"/>
                <a:gd name="connsiteX2" fmla="*/ 0 w 327916"/>
                <a:gd name="connsiteY2" fmla="*/ 0 h 638344"/>
                <a:gd name="connsiteX3" fmla="*/ 137725 w 327916"/>
                <a:gd name="connsiteY3" fmla="*/ 0 h 638344"/>
                <a:gd name="connsiteX4" fmla="*/ 137725 w 327916"/>
                <a:gd name="connsiteY4" fmla="*/ 500620 h 638344"/>
                <a:gd name="connsiteX5" fmla="*/ 327917 w 327916"/>
                <a:gd name="connsiteY5" fmla="*/ 500620 h 638344"/>
                <a:gd name="connsiteX6" fmla="*/ 327917 w 327916"/>
                <a:gd name="connsiteY6" fmla="*/ 638345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7916" h="638344">
                  <a:moveTo>
                    <a:pt x="327917" y="638345"/>
                  </a:moveTo>
                  <a:lnTo>
                    <a:pt x="0" y="638345"/>
                  </a:lnTo>
                  <a:lnTo>
                    <a:pt x="0" y="0"/>
                  </a:lnTo>
                  <a:lnTo>
                    <a:pt x="137725" y="0"/>
                  </a:lnTo>
                  <a:lnTo>
                    <a:pt x="137725" y="500620"/>
                  </a:lnTo>
                  <a:lnTo>
                    <a:pt x="327917" y="500620"/>
                  </a:lnTo>
                  <a:lnTo>
                    <a:pt x="327917" y="638345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3AC58308-E0F7-4BE9-3497-9AAC2CB0AF37}"/>
                </a:ext>
              </a:extLst>
            </p:cNvPr>
            <p:cNvSpPr/>
            <p:nvPr/>
          </p:nvSpPr>
          <p:spPr>
            <a:xfrm>
              <a:off x="4627192" y="4495188"/>
              <a:ext cx="327916" cy="638344"/>
            </a:xfrm>
            <a:custGeom>
              <a:avLst/>
              <a:gdLst>
                <a:gd name="connsiteX0" fmla="*/ 325730 w 327916"/>
                <a:gd name="connsiteY0" fmla="*/ 638345 h 638344"/>
                <a:gd name="connsiteX1" fmla="*/ 0 w 327916"/>
                <a:gd name="connsiteY1" fmla="*/ 638345 h 638344"/>
                <a:gd name="connsiteX2" fmla="*/ 0 w 327916"/>
                <a:gd name="connsiteY2" fmla="*/ 0 h 638344"/>
                <a:gd name="connsiteX3" fmla="*/ 137725 w 327916"/>
                <a:gd name="connsiteY3" fmla="*/ 0 h 638344"/>
                <a:gd name="connsiteX4" fmla="*/ 137725 w 327916"/>
                <a:gd name="connsiteY4" fmla="*/ 500620 h 638344"/>
                <a:gd name="connsiteX5" fmla="*/ 327917 w 327916"/>
                <a:gd name="connsiteY5" fmla="*/ 500620 h 638344"/>
                <a:gd name="connsiteX6" fmla="*/ 327917 w 327916"/>
                <a:gd name="connsiteY6" fmla="*/ 638345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7916" h="638344">
                  <a:moveTo>
                    <a:pt x="325730" y="638345"/>
                  </a:moveTo>
                  <a:lnTo>
                    <a:pt x="0" y="638345"/>
                  </a:lnTo>
                  <a:lnTo>
                    <a:pt x="0" y="0"/>
                  </a:lnTo>
                  <a:lnTo>
                    <a:pt x="137725" y="0"/>
                  </a:lnTo>
                  <a:lnTo>
                    <a:pt x="137725" y="500620"/>
                  </a:lnTo>
                  <a:lnTo>
                    <a:pt x="327917" y="500620"/>
                  </a:lnTo>
                  <a:lnTo>
                    <a:pt x="327917" y="638345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375EC271-D26D-FCD0-D79F-D828597F1886}"/>
                </a:ext>
              </a:extLst>
            </p:cNvPr>
            <p:cNvSpPr/>
            <p:nvPr/>
          </p:nvSpPr>
          <p:spPr>
            <a:xfrm>
              <a:off x="5849228" y="4495188"/>
              <a:ext cx="349777" cy="638344"/>
            </a:xfrm>
            <a:custGeom>
              <a:avLst/>
              <a:gdLst>
                <a:gd name="connsiteX0" fmla="*/ 349778 w 349777"/>
                <a:gd name="connsiteY0" fmla="*/ 638345 h 638344"/>
                <a:gd name="connsiteX1" fmla="*/ 0 w 349777"/>
                <a:gd name="connsiteY1" fmla="*/ 638345 h 638344"/>
                <a:gd name="connsiteX2" fmla="*/ 0 w 349777"/>
                <a:gd name="connsiteY2" fmla="*/ 0 h 638344"/>
                <a:gd name="connsiteX3" fmla="*/ 349778 w 349777"/>
                <a:gd name="connsiteY3" fmla="*/ 0 h 638344"/>
                <a:gd name="connsiteX4" fmla="*/ 349778 w 349777"/>
                <a:gd name="connsiteY4" fmla="*/ 137725 h 638344"/>
                <a:gd name="connsiteX5" fmla="*/ 137725 w 349777"/>
                <a:gd name="connsiteY5" fmla="*/ 137725 h 638344"/>
                <a:gd name="connsiteX6" fmla="*/ 137725 w 349777"/>
                <a:gd name="connsiteY6" fmla="*/ 251403 h 638344"/>
                <a:gd name="connsiteX7" fmla="*/ 349778 w 349777"/>
                <a:gd name="connsiteY7" fmla="*/ 251403 h 638344"/>
                <a:gd name="connsiteX8" fmla="*/ 349778 w 349777"/>
                <a:gd name="connsiteY8" fmla="*/ 389128 h 638344"/>
                <a:gd name="connsiteX9" fmla="*/ 137725 w 349777"/>
                <a:gd name="connsiteY9" fmla="*/ 389128 h 638344"/>
                <a:gd name="connsiteX10" fmla="*/ 137725 w 349777"/>
                <a:gd name="connsiteY10" fmla="*/ 500620 h 638344"/>
                <a:gd name="connsiteX11" fmla="*/ 349778 w 349777"/>
                <a:gd name="connsiteY11" fmla="*/ 500620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49777" h="638344">
                  <a:moveTo>
                    <a:pt x="349778" y="638345"/>
                  </a:moveTo>
                  <a:lnTo>
                    <a:pt x="0" y="638345"/>
                  </a:lnTo>
                  <a:lnTo>
                    <a:pt x="0" y="0"/>
                  </a:lnTo>
                  <a:lnTo>
                    <a:pt x="349778" y="0"/>
                  </a:lnTo>
                  <a:lnTo>
                    <a:pt x="349778" y="137725"/>
                  </a:lnTo>
                  <a:lnTo>
                    <a:pt x="137725" y="137725"/>
                  </a:lnTo>
                  <a:lnTo>
                    <a:pt x="137725" y="251403"/>
                  </a:lnTo>
                  <a:lnTo>
                    <a:pt x="349778" y="251403"/>
                  </a:lnTo>
                  <a:lnTo>
                    <a:pt x="349778" y="389128"/>
                  </a:lnTo>
                  <a:lnTo>
                    <a:pt x="137725" y="389128"/>
                  </a:lnTo>
                  <a:lnTo>
                    <a:pt x="137725" y="500620"/>
                  </a:lnTo>
                  <a:lnTo>
                    <a:pt x="349778" y="500620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AD0D19EF-8975-77DF-7769-749845325C49}"/>
                </a:ext>
              </a:extLst>
            </p:cNvPr>
            <p:cNvSpPr/>
            <p:nvPr/>
          </p:nvSpPr>
          <p:spPr>
            <a:xfrm>
              <a:off x="6321428" y="4495188"/>
              <a:ext cx="441594" cy="638344"/>
            </a:xfrm>
            <a:custGeom>
              <a:avLst/>
              <a:gdLst>
                <a:gd name="connsiteX0" fmla="*/ 439408 w 441594"/>
                <a:gd name="connsiteY0" fmla="*/ 450339 h 638344"/>
                <a:gd name="connsiteX1" fmla="*/ 391314 w 441594"/>
                <a:gd name="connsiteY1" fmla="*/ 360708 h 638344"/>
                <a:gd name="connsiteX2" fmla="*/ 439408 w 441594"/>
                <a:gd name="connsiteY2" fmla="*/ 273264 h 638344"/>
                <a:gd name="connsiteX3" fmla="*/ 439408 w 441594"/>
                <a:gd name="connsiteY3" fmla="*/ 179261 h 638344"/>
                <a:gd name="connsiteX4" fmla="*/ 266706 w 441594"/>
                <a:gd name="connsiteY4" fmla="*/ 0 h 638344"/>
                <a:gd name="connsiteX5" fmla="*/ 0 w 441594"/>
                <a:gd name="connsiteY5" fmla="*/ 0 h 638344"/>
                <a:gd name="connsiteX6" fmla="*/ 0 w 441594"/>
                <a:gd name="connsiteY6" fmla="*/ 638345 h 638344"/>
                <a:gd name="connsiteX7" fmla="*/ 137725 w 441594"/>
                <a:gd name="connsiteY7" fmla="*/ 638345 h 638344"/>
                <a:gd name="connsiteX8" fmla="*/ 137725 w 441594"/>
                <a:gd name="connsiteY8" fmla="*/ 435036 h 638344"/>
                <a:gd name="connsiteX9" fmla="*/ 251403 w 441594"/>
                <a:gd name="connsiteY9" fmla="*/ 435036 h 638344"/>
                <a:gd name="connsiteX10" fmla="*/ 314800 w 441594"/>
                <a:gd name="connsiteY10" fmla="*/ 500620 h 638344"/>
                <a:gd name="connsiteX11" fmla="*/ 314800 w 441594"/>
                <a:gd name="connsiteY11" fmla="*/ 638345 h 638344"/>
                <a:gd name="connsiteX12" fmla="*/ 441594 w 441594"/>
                <a:gd name="connsiteY12" fmla="*/ 638345 h 638344"/>
                <a:gd name="connsiteX13" fmla="*/ 439408 w 441594"/>
                <a:gd name="connsiteY13" fmla="*/ 450339 h 638344"/>
                <a:gd name="connsiteX14" fmla="*/ 312614 w 441594"/>
                <a:gd name="connsiteY14" fmla="*/ 244844 h 638344"/>
                <a:gd name="connsiteX15" fmla="*/ 251403 w 441594"/>
                <a:gd name="connsiteY15" fmla="*/ 306056 h 638344"/>
                <a:gd name="connsiteX16" fmla="*/ 137725 w 441594"/>
                <a:gd name="connsiteY16" fmla="*/ 306056 h 638344"/>
                <a:gd name="connsiteX17" fmla="*/ 137725 w 441594"/>
                <a:gd name="connsiteY17" fmla="*/ 135539 h 638344"/>
                <a:gd name="connsiteX18" fmla="*/ 251403 w 441594"/>
                <a:gd name="connsiteY18" fmla="*/ 135539 h 638344"/>
                <a:gd name="connsiteX19" fmla="*/ 314800 w 441594"/>
                <a:gd name="connsiteY19" fmla="*/ 196750 h 638344"/>
                <a:gd name="connsiteX20" fmla="*/ 314800 w 441594"/>
                <a:gd name="connsiteY20" fmla="*/ 244844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41594" h="638344">
                  <a:moveTo>
                    <a:pt x="439408" y="450339"/>
                  </a:moveTo>
                  <a:cubicBezTo>
                    <a:pt x="439408" y="395686"/>
                    <a:pt x="406617" y="369453"/>
                    <a:pt x="391314" y="360708"/>
                  </a:cubicBezTo>
                  <a:cubicBezTo>
                    <a:pt x="408803" y="349778"/>
                    <a:pt x="439408" y="323545"/>
                    <a:pt x="439408" y="273264"/>
                  </a:cubicBezTo>
                  <a:cubicBezTo>
                    <a:pt x="439408" y="238286"/>
                    <a:pt x="439408" y="179261"/>
                    <a:pt x="439408" y="179261"/>
                  </a:cubicBezTo>
                  <a:cubicBezTo>
                    <a:pt x="439408" y="26233"/>
                    <a:pt x="384755" y="0"/>
                    <a:pt x="266706" y="0"/>
                  </a:cubicBezTo>
                  <a:lnTo>
                    <a:pt x="0" y="0"/>
                  </a:lnTo>
                  <a:lnTo>
                    <a:pt x="0" y="638345"/>
                  </a:lnTo>
                  <a:lnTo>
                    <a:pt x="137725" y="638345"/>
                  </a:lnTo>
                  <a:lnTo>
                    <a:pt x="137725" y="435036"/>
                  </a:lnTo>
                  <a:lnTo>
                    <a:pt x="251403" y="435036"/>
                  </a:lnTo>
                  <a:cubicBezTo>
                    <a:pt x="301683" y="435036"/>
                    <a:pt x="314800" y="459083"/>
                    <a:pt x="314800" y="500620"/>
                  </a:cubicBezTo>
                  <a:lnTo>
                    <a:pt x="314800" y="638345"/>
                  </a:lnTo>
                  <a:lnTo>
                    <a:pt x="441594" y="638345"/>
                  </a:lnTo>
                  <a:lnTo>
                    <a:pt x="439408" y="450339"/>
                  </a:lnTo>
                  <a:close/>
                  <a:moveTo>
                    <a:pt x="312614" y="244844"/>
                  </a:moveTo>
                  <a:cubicBezTo>
                    <a:pt x="312614" y="277636"/>
                    <a:pt x="284195" y="306056"/>
                    <a:pt x="251403" y="306056"/>
                  </a:cubicBezTo>
                  <a:lnTo>
                    <a:pt x="137725" y="306056"/>
                  </a:lnTo>
                  <a:lnTo>
                    <a:pt x="137725" y="135539"/>
                  </a:lnTo>
                  <a:lnTo>
                    <a:pt x="251403" y="135539"/>
                  </a:lnTo>
                  <a:cubicBezTo>
                    <a:pt x="290753" y="135539"/>
                    <a:pt x="314800" y="166144"/>
                    <a:pt x="314800" y="196750"/>
                  </a:cubicBezTo>
                  <a:lnTo>
                    <a:pt x="314800" y="244844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E8280F06-77AE-E208-653E-F0027530410F}"/>
                </a:ext>
              </a:extLst>
            </p:cNvPr>
            <p:cNvSpPr/>
            <p:nvPr/>
          </p:nvSpPr>
          <p:spPr>
            <a:xfrm>
              <a:off x="5055670" y="4495188"/>
              <a:ext cx="675508" cy="642716"/>
            </a:xfrm>
            <a:custGeom>
              <a:avLst/>
              <a:gdLst>
                <a:gd name="connsiteX0" fmla="*/ 489689 w 675508"/>
                <a:gd name="connsiteY0" fmla="*/ 0 h 642716"/>
                <a:gd name="connsiteX1" fmla="*/ 424106 w 675508"/>
                <a:gd name="connsiteY1" fmla="*/ 0 h 642716"/>
                <a:gd name="connsiteX2" fmla="*/ 334475 w 675508"/>
                <a:gd name="connsiteY2" fmla="*/ 48094 h 642716"/>
                <a:gd name="connsiteX3" fmla="*/ 247031 w 675508"/>
                <a:gd name="connsiteY3" fmla="*/ 0 h 642716"/>
                <a:gd name="connsiteX4" fmla="*/ 181447 w 675508"/>
                <a:gd name="connsiteY4" fmla="*/ 0 h 642716"/>
                <a:gd name="connsiteX5" fmla="*/ 0 w 675508"/>
                <a:gd name="connsiteY5" fmla="*/ 192378 h 642716"/>
                <a:gd name="connsiteX6" fmla="*/ 0 w 675508"/>
                <a:gd name="connsiteY6" fmla="*/ 640531 h 642716"/>
                <a:gd name="connsiteX7" fmla="*/ 135539 w 675508"/>
                <a:gd name="connsiteY7" fmla="*/ 640531 h 642716"/>
                <a:gd name="connsiteX8" fmla="*/ 135539 w 675508"/>
                <a:gd name="connsiteY8" fmla="*/ 177075 h 642716"/>
                <a:gd name="connsiteX9" fmla="*/ 139911 w 675508"/>
                <a:gd name="connsiteY9" fmla="*/ 155214 h 642716"/>
                <a:gd name="connsiteX10" fmla="*/ 155214 w 675508"/>
                <a:gd name="connsiteY10" fmla="*/ 150842 h 642716"/>
                <a:gd name="connsiteX11" fmla="*/ 249217 w 675508"/>
                <a:gd name="connsiteY11" fmla="*/ 150842 h 642716"/>
                <a:gd name="connsiteX12" fmla="*/ 264519 w 675508"/>
                <a:gd name="connsiteY12" fmla="*/ 155214 h 642716"/>
                <a:gd name="connsiteX13" fmla="*/ 268892 w 675508"/>
                <a:gd name="connsiteY13" fmla="*/ 179261 h 642716"/>
                <a:gd name="connsiteX14" fmla="*/ 268892 w 675508"/>
                <a:gd name="connsiteY14" fmla="*/ 642717 h 642716"/>
                <a:gd name="connsiteX15" fmla="*/ 268892 w 675508"/>
                <a:gd name="connsiteY15" fmla="*/ 642717 h 642716"/>
                <a:gd name="connsiteX16" fmla="*/ 406617 w 675508"/>
                <a:gd name="connsiteY16" fmla="*/ 642717 h 642716"/>
                <a:gd name="connsiteX17" fmla="*/ 406617 w 675508"/>
                <a:gd name="connsiteY17" fmla="*/ 179261 h 642716"/>
                <a:gd name="connsiteX18" fmla="*/ 410989 w 675508"/>
                <a:gd name="connsiteY18" fmla="*/ 155214 h 642716"/>
                <a:gd name="connsiteX19" fmla="*/ 426292 w 675508"/>
                <a:gd name="connsiteY19" fmla="*/ 150842 h 642716"/>
                <a:gd name="connsiteX20" fmla="*/ 520294 w 675508"/>
                <a:gd name="connsiteY20" fmla="*/ 150842 h 642716"/>
                <a:gd name="connsiteX21" fmla="*/ 535597 w 675508"/>
                <a:gd name="connsiteY21" fmla="*/ 155214 h 642716"/>
                <a:gd name="connsiteX22" fmla="*/ 539970 w 675508"/>
                <a:gd name="connsiteY22" fmla="*/ 177075 h 642716"/>
                <a:gd name="connsiteX23" fmla="*/ 539970 w 675508"/>
                <a:gd name="connsiteY23" fmla="*/ 640531 h 642716"/>
                <a:gd name="connsiteX24" fmla="*/ 675509 w 675508"/>
                <a:gd name="connsiteY24" fmla="*/ 640531 h 642716"/>
                <a:gd name="connsiteX25" fmla="*/ 675509 w 675508"/>
                <a:gd name="connsiteY25" fmla="*/ 192378 h 642716"/>
                <a:gd name="connsiteX26" fmla="*/ 489689 w 675508"/>
                <a:gd name="connsiteY26" fmla="*/ 0 h 642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75508" h="642716">
                  <a:moveTo>
                    <a:pt x="489689" y="0"/>
                  </a:moveTo>
                  <a:lnTo>
                    <a:pt x="424106" y="0"/>
                  </a:lnTo>
                  <a:cubicBezTo>
                    <a:pt x="369453" y="0"/>
                    <a:pt x="343220" y="32792"/>
                    <a:pt x="334475" y="48094"/>
                  </a:cubicBezTo>
                  <a:cubicBezTo>
                    <a:pt x="323544" y="30606"/>
                    <a:pt x="297311" y="0"/>
                    <a:pt x="247031" y="0"/>
                  </a:cubicBezTo>
                  <a:lnTo>
                    <a:pt x="181447" y="0"/>
                  </a:lnTo>
                  <a:cubicBezTo>
                    <a:pt x="43722" y="0"/>
                    <a:pt x="0" y="26233"/>
                    <a:pt x="0" y="192378"/>
                  </a:cubicBezTo>
                  <a:lnTo>
                    <a:pt x="0" y="640531"/>
                  </a:lnTo>
                  <a:lnTo>
                    <a:pt x="135539" y="640531"/>
                  </a:lnTo>
                  <a:lnTo>
                    <a:pt x="135539" y="177075"/>
                  </a:lnTo>
                  <a:cubicBezTo>
                    <a:pt x="135539" y="163958"/>
                    <a:pt x="135539" y="157400"/>
                    <a:pt x="139911" y="155214"/>
                  </a:cubicBezTo>
                  <a:cubicBezTo>
                    <a:pt x="142097" y="153028"/>
                    <a:pt x="148655" y="150842"/>
                    <a:pt x="155214" y="150842"/>
                  </a:cubicBezTo>
                  <a:lnTo>
                    <a:pt x="249217" y="150842"/>
                  </a:lnTo>
                  <a:cubicBezTo>
                    <a:pt x="255775" y="150842"/>
                    <a:pt x="260147" y="150842"/>
                    <a:pt x="264519" y="155214"/>
                  </a:cubicBezTo>
                  <a:cubicBezTo>
                    <a:pt x="268892" y="159586"/>
                    <a:pt x="268892" y="163958"/>
                    <a:pt x="268892" y="179261"/>
                  </a:cubicBezTo>
                  <a:lnTo>
                    <a:pt x="268892" y="642717"/>
                  </a:lnTo>
                  <a:lnTo>
                    <a:pt x="268892" y="642717"/>
                  </a:lnTo>
                  <a:lnTo>
                    <a:pt x="406617" y="642717"/>
                  </a:lnTo>
                  <a:lnTo>
                    <a:pt x="406617" y="179261"/>
                  </a:lnTo>
                  <a:cubicBezTo>
                    <a:pt x="406617" y="166144"/>
                    <a:pt x="406617" y="159586"/>
                    <a:pt x="410989" y="155214"/>
                  </a:cubicBezTo>
                  <a:cubicBezTo>
                    <a:pt x="413175" y="153028"/>
                    <a:pt x="419734" y="150842"/>
                    <a:pt x="426292" y="150842"/>
                  </a:cubicBezTo>
                  <a:lnTo>
                    <a:pt x="520294" y="150842"/>
                  </a:lnTo>
                  <a:cubicBezTo>
                    <a:pt x="526853" y="150842"/>
                    <a:pt x="533411" y="150842"/>
                    <a:pt x="535597" y="155214"/>
                  </a:cubicBezTo>
                  <a:cubicBezTo>
                    <a:pt x="539970" y="159586"/>
                    <a:pt x="539970" y="163958"/>
                    <a:pt x="539970" y="177075"/>
                  </a:cubicBezTo>
                  <a:lnTo>
                    <a:pt x="539970" y="640531"/>
                  </a:lnTo>
                  <a:lnTo>
                    <a:pt x="675509" y="640531"/>
                  </a:lnTo>
                  <a:lnTo>
                    <a:pt x="675509" y="192378"/>
                  </a:lnTo>
                  <a:cubicBezTo>
                    <a:pt x="671136" y="26233"/>
                    <a:pt x="627414" y="0"/>
                    <a:pt x="489689" y="0"/>
                  </a:cubicBez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2139D42E-1DB5-3A27-9D06-99BD72232728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3/18/2024</a:t>
            </a:r>
            <a:endParaRPr lang="de-DE" dirty="0"/>
          </a:p>
        </p:txBody>
      </p:sp>
      <p:sp>
        <p:nvSpPr>
          <p:cNvPr id="18" name="Fußzeilenplatzhalter 17">
            <a:extLst>
              <a:ext uri="{FF2B5EF4-FFF2-40B4-BE49-F238E27FC236}">
                <a16:creationId xmlns:a16="http://schemas.microsoft.com/office/drawing/2014/main" id="{A56C0499-7BD3-A09F-D740-3897CF9C762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Fußzeile über Menü Einfügen-&gt; Kopf- und Fußzeile 'Für alle übernehmen'</a:t>
            </a:r>
            <a:endParaRPr lang="de-DE" dirty="0"/>
          </a:p>
        </p:txBody>
      </p:sp>
      <p:sp>
        <p:nvSpPr>
          <p:cNvPr id="19" name="Foliennummernplatzhalter 18">
            <a:extLst>
              <a:ext uri="{FF2B5EF4-FFF2-40B4-BE49-F238E27FC236}">
                <a16:creationId xmlns:a16="http://schemas.microsoft.com/office/drawing/2014/main" id="{0292FAA8-CAE7-C1D1-D8BF-810B8EBCB57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eite </a:t>
            </a:r>
            <a:fld id="{63A738E5-7FE5-4F0E-80D4-9B95A408A0C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254272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hell+Bild dunkel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28241954-1E3B-30BE-0B95-84DCED061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45674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8241954-1E3B-30BE-0B95-84DCED061A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Bildplatzhalter 22">
            <a:extLst>
              <a:ext uri="{FF2B5EF4-FFF2-40B4-BE49-F238E27FC236}">
                <a16:creationId xmlns:a16="http://schemas.microsoft.com/office/drawing/2014/main" id="{A6325F4E-C095-8887-AD8C-78105924553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858000"/>
          </a:xfrm>
          <a:solidFill>
            <a:schemeClr val="tx1"/>
          </a:solidFill>
        </p:spPr>
        <p:txBody>
          <a:bodyPr/>
          <a:lstStyle/>
          <a:p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F3D29DB-C29F-7E03-7D11-D8E722D7D8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56001" y="404813"/>
            <a:ext cx="5328012" cy="415498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50FCC40-B9BD-CC74-817B-4FE8B7ABC4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56001" y="2060847"/>
            <a:ext cx="5328012" cy="411611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32" name="Textplatzhalter 20">
            <a:extLst>
              <a:ext uri="{FF2B5EF4-FFF2-40B4-BE49-F238E27FC236}">
                <a16:creationId xmlns:a16="http://schemas.microsoft.com/office/drawing/2014/main" id="{DDA07A35-B931-C533-87D6-7ED279EDA0C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989" y="6453187"/>
            <a:ext cx="918000" cy="158572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608F56A-7683-5FD0-4D23-8B19A75D903B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de-DE"/>
              <a:t>3/18/2024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82B84DB-28EA-2176-23E8-4DF59CF49C22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Fußzeile über Menü Einfügen-&gt; Kopf- und Fußzeile 'Für alle übernehmen'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B596A53-5C95-BE65-05CB-F6E0B4D511C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e-DE"/>
              <a:t>Seite </a:t>
            </a:r>
            <a:fld id="{63A738E5-7FE5-4F0E-80D4-9B95A408A0C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2179573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hell+Bild hell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28241954-1E3B-30BE-0B95-84DCED061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25265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8241954-1E3B-30BE-0B95-84DCED061A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Bildplatzhalter 22">
            <a:extLst>
              <a:ext uri="{FF2B5EF4-FFF2-40B4-BE49-F238E27FC236}">
                <a16:creationId xmlns:a16="http://schemas.microsoft.com/office/drawing/2014/main" id="{A6325F4E-C095-8887-AD8C-78105924553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858000"/>
          </a:xfrm>
          <a:solidFill>
            <a:schemeClr val="bg1"/>
          </a:solidFill>
        </p:spPr>
        <p:txBody>
          <a:bodyPr/>
          <a:lstStyle/>
          <a:p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F3D29DB-C29F-7E03-7D11-D8E722D7D8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56001" y="404813"/>
            <a:ext cx="5328012" cy="415498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50FCC40-B9BD-CC74-817B-4FE8B7ABC4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56001" y="2060847"/>
            <a:ext cx="5328012" cy="411611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Textplatzhalter 20">
            <a:extLst>
              <a:ext uri="{FF2B5EF4-FFF2-40B4-BE49-F238E27FC236}">
                <a16:creationId xmlns:a16="http://schemas.microsoft.com/office/drawing/2014/main" id="{820B71A9-9D4D-2A5F-3BE6-E5F95FDBE5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7989" y="6453187"/>
            <a:ext cx="918000" cy="158572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5F27386-BA96-7388-2058-DB06ABFF70C9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3/18/2024</a:t>
            </a:r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A22B2CF-40C1-7682-8CA4-82037A85B64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Fußzeile über Menü Einfügen-&gt; Kopf- und Fußzeile 'Für alle übernehmen'</a:t>
            </a:r>
            <a:endParaRPr lang="de-DE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A9C05721-C1B5-76E5-9D81-21D64631942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/>
              <a:t>Seite </a:t>
            </a:r>
            <a:fld id="{63A738E5-7FE5-4F0E-80D4-9B95A408A0C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696608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dunkel+Bild dunkel link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28241954-1E3B-30BE-0B95-84DCED061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9258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Bildplatzhalter 22">
            <a:extLst>
              <a:ext uri="{FF2B5EF4-FFF2-40B4-BE49-F238E27FC236}">
                <a16:creationId xmlns:a16="http://schemas.microsoft.com/office/drawing/2014/main" id="{A6325F4E-C095-8887-AD8C-78105924553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858000"/>
          </a:xfrm>
          <a:solidFill>
            <a:schemeClr val="tx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F3D29DB-C29F-7E03-7D11-D8E722D7D8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56001" y="404813"/>
            <a:ext cx="5328012" cy="415498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50FCC40-B9BD-CC74-817B-4FE8B7ABC4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56001" y="2060847"/>
            <a:ext cx="5328012" cy="411611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32" name="Textplatzhalter 20">
            <a:extLst>
              <a:ext uri="{FF2B5EF4-FFF2-40B4-BE49-F238E27FC236}">
                <a16:creationId xmlns:a16="http://schemas.microsoft.com/office/drawing/2014/main" id="{DDA07A35-B931-C533-87D6-7ED279EDA0C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989" y="6453187"/>
            <a:ext cx="918000" cy="158572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1C50924-ADD8-0782-E94B-CA2DE16928F9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3/18/2024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4C3691F-6171-A6F0-3496-7841C4C7CAA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Fußzeile über Menü Einfügen-&gt; Kopf- und Fußzeile 'Für alle übernehmen'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110815D-E71C-B6C9-FFF9-0687F27F88EC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eite </a:t>
            </a:r>
            <a:fld id="{63A738E5-7FE5-4F0E-80D4-9B95A408A0C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1628516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dunkel+Bild hell link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28241954-1E3B-30BE-0B95-84DCED061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44937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8241954-1E3B-30BE-0B95-84DCED061A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Bildplatzhalter 22">
            <a:extLst>
              <a:ext uri="{FF2B5EF4-FFF2-40B4-BE49-F238E27FC236}">
                <a16:creationId xmlns:a16="http://schemas.microsoft.com/office/drawing/2014/main" id="{A6325F4E-C095-8887-AD8C-78105924553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858000"/>
          </a:xfrm>
          <a:solidFill>
            <a:schemeClr val="bg1"/>
          </a:solidFill>
        </p:spPr>
        <p:txBody>
          <a:bodyPr/>
          <a:lstStyle/>
          <a:p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F3D29DB-C29F-7E03-7D11-D8E722D7D8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56001" y="404813"/>
            <a:ext cx="5328012" cy="415498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50FCC40-B9BD-CC74-817B-4FE8B7ABC4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56001" y="2060847"/>
            <a:ext cx="5328012" cy="411611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01F33354-6B0F-32D1-6B95-72F2628DC14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7989" y="6453187"/>
            <a:ext cx="918000" cy="158572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769F6B5-CA56-1F9E-32D1-05290C3675B9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3/18/2024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2CA8B1B-DC32-17F0-EBDA-08B427CCA10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Fußzeile über Menü Einfügen-&gt; Kopf- und Fußzeile 'Für alle übernehmen'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F9BAF54-056F-ED4E-E5AC-38AE3E1FBF0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eite </a:t>
            </a:r>
            <a:fld id="{63A738E5-7FE5-4F0E-80D4-9B95A408A0C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6115996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9423D010-A3B9-7039-EA21-56726937B5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79444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92" imgH="591" progId="TCLayout.ActiveDocument.1">
                  <p:embed/>
                </p:oleObj>
              </mc:Choice>
              <mc:Fallback>
                <p:oleObj name="think-cell Folie" r:id="rId5" imgW="592" imgH="591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423D010-A3B9-7039-EA21-56726937B5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A85BDC5-E338-2798-3015-0493E7D8E11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990" y="335563"/>
            <a:ext cx="5328009" cy="484748"/>
          </a:xfrm>
        </p:spPr>
        <p:txBody>
          <a:bodyPr vert="horz" anchor="t"/>
          <a:lstStyle>
            <a:lvl1pPr algn="l">
              <a:defRPr sz="35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7CD5D4E-D25C-ACC3-DA5D-91886EEC9E7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7990" y="1977683"/>
            <a:ext cx="5328009" cy="1655762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Master-Untertitelformat bearbeiten</a:t>
            </a:r>
            <a:endParaRPr lang="en-US" dirty="0"/>
          </a:p>
        </p:txBody>
      </p:sp>
      <p:grpSp>
        <p:nvGrpSpPr>
          <p:cNvPr id="22" name="Grafik 23">
            <a:extLst>
              <a:ext uri="{FF2B5EF4-FFF2-40B4-BE49-F238E27FC236}">
                <a16:creationId xmlns:a16="http://schemas.microsoft.com/office/drawing/2014/main" id="{4E752B44-9257-E045-0D76-82B15DC5C0C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07989" y="6218443"/>
            <a:ext cx="1296000" cy="223871"/>
            <a:chOff x="3042261" y="4495188"/>
            <a:chExt cx="3720761" cy="642716"/>
          </a:xfrm>
          <a:solidFill>
            <a:schemeClr val="bg1"/>
          </a:solidFill>
        </p:grpSpPr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A6C53CC2-7BAD-29AA-A29A-2010FA9AF7AF}"/>
                </a:ext>
              </a:extLst>
            </p:cNvPr>
            <p:cNvSpPr/>
            <p:nvPr/>
          </p:nvSpPr>
          <p:spPr>
            <a:xfrm>
              <a:off x="3042261" y="4495188"/>
              <a:ext cx="450339" cy="638344"/>
            </a:xfrm>
            <a:custGeom>
              <a:avLst/>
              <a:gdLst>
                <a:gd name="connsiteX0" fmla="*/ 262333 w 450339"/>
                <a:gd name="connsiteY0" fmla="*/ 638345 h 638344"/>
                <a:gd name="connsiteX1" fmla="*/ 251403 w 450339"/>
                <a:gd name="connsiteY1" fmla="*/ 638345 h 638344"/>
                <a:gd name="connsiteX2" fmla="*/ 0 w 450339"/>
                <a:gd name="connsiteY2" fmla="*/ 638345 h 638344"/>
                <a:gd name="connsiteX3" fmla="*/ 0 w 450339"/>
                <a:gd name="connsiteY3" fmla="*/ 0 h 638344"/>
                <a:gd name="connsiteX4" fmla="*/ 266706 w 450339"/>
                <a:gd name="connsiteY4" fmla="*/ 0 h 638344"/>
                <a:gd name="connsiteX5" fmla="*/ 450339 w 450339"/>
                <a:gd name="connsiteY5" fmla="*/ 192378 h 638344"/>
                <a:gd name="connsiteX6" fmla="*/ 450339 w 450339"/>
                <a:gd name="connsiteY6" fmla="*/ 452525 h 638344"/>
                <a:gd name="connsiteX7" fmla="*/ 393500 w 450339"/>
                <a:gd name="connsiteY7" fmla="*/ 598995 h 638344"/>
                <a:gd name="connsiteX8" fmla="*/ 262333 w 450339"/>
                <a:gd name="connsiteY8" fmla="*/ 638345 h 638344"/>
                <a:gd name="connsiteX9" fmla="*/ 137725 w 450339"/>
                <a:gd name="connsiteY9" fmla="*/ 500620 h 638344"/>
                <a:gd name="connsiteX10" fmla="*/ 257961 w 450339"/>
                <a:gd name="connsiteY10" fmla="*/ 500620 h 638344"/>
                <a:gd name="connsiteX11" fmla="*/ 319172 w 450339"/>
                <a:gd name="connsiteY11" fmla="*/ 445967 h 638344"/>
                <a:gd name="connsiteX12" fmla="*/ 319172 w 450339"/>
                <a:gd name="connsiteY12" fmla="*/ 196750 h 638344"/>
                <a:gd name="connsiteX13" fmla="*/ 255775 w 450339"/>
                <a:gd name="connsiteY13" fmla="*/ 135539 h 638344"/>
                <a:gd name="connsiteX14" fmla="*/ 135539 w 450339"/>
                <a:gd name="connsiteY14" fmla="*/ 135539 h 638344"/>
                <a:gd name="connsiteX15" fmla="*/ 135539 w 450339"/>
                <a:gd name="connsiteY15" fmla="*/ 500620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0339" h="638344">
                  <a:moveTo>
                    <a:pt x="262333" y="638345"/>
                  </a:moveTo>
                  <a:cubicBezTo>
                    <a:pt x="257961" y="638345"/>
                    <a:pt x="255775" y="638345"/>
                    <a:pt x="251403" y="638345"/>
                  </a:cubicBezTo>
                  <a:lnTo>
                    <a:pt x="0" y="638345"/>
                  </a:lnTo>
                  <a:lnTo>
                    <a:pt x="0" y="0"/>
                  </a:lnTo>
                  <a:lnTo>
                    <a:pt x="266706" y="0"/>
                  </a:lnTo>
                  <a:cubicBezTo>
                    <a:pt x="391314" y="0"/>
                    <a:pt x="450339" y="61211"/>
                    <a:pt x="450339" y="192378"/>
                  </a:cubicBezTo>
                  <a:lnTo>
                    <a:pt x="450339" y="452525"/>
                  </a:lnTo>
                  <a:cubicBezTo>
                    <a:pt x="450339" y="518108"/>
                    <a:pt x="430664" y="566203"/>
                    <a:pt x="393500" y="598995"/>
                  </a:cubicBezTo>
                  <a:cubicBezTo>
                    <a:pt x="362895" y="625228"/>
                    <a:pt x="319172" y="638345"/>
                    <a:pt x="262333" y="638345"/>
                  </a:cubicBezTo>
                  <a:close/>
                  <a:moveTo>
                    <a:pt x="137725" y="500620"/>
                  </a:moveTo>
                  <a:lnTo>
                    <a:pt x="257961" y="500620"/>
                  </a:lnTo>
                  <a:cubicBezTo>
                    <a:pt x="288567" y="500620"/>
                    <a:pt x="314800" y="478758"/>
                    <a:pt x="319172" y="445967"/>
                  </a:cubicBezTo>
                  <a:lnTo>
                    <a:pt x="319172" y="196750"/>
                  </a:lnTo>
                  <a:cubicBezTo>
                    <a:pt x="319172" y="163958"/>
                    <a:pt x="290753" y="135539"/>
                    <a:pt x="255775" y="135539"/>
                  </a:cubicBezTo>
                  <a:lnTo>
                    <a:pt x="135539" y="135539"/>
                  </a:lnTo>
                  <a:lnTo>
                    <a:pt x="135539" y="500620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" name="Freihandform: Form 23">
              <a:extLst>
                <a:ext uri="{FF2B5EF4-FFF2-40B4-BE49-F238E27FC236}">
                  <a16:creationId xmlns:a16="http://schemas.microsoft.com/office/drawing/2014/main" id="{31A9B081-97C2-20F7-6A5C-7C4D15054E6D}"/>
                </a:ext>
              </a:extLst>
            </p:cNvPr>
            <p:cNvSpPr/>
            <p:nvPr/>
          </p:nvSpPr>
          <p:spPr>
            <a:xfrm>
              <a:off x="3612836" y="4495188"/>
              <a:ext cx="461269" cy="638344"/>
            </a:xfrm>
            <a:custGeom>
              <a:avLst/>
              <a:gdLst>
                <a:gd name="connsiteX0" fmla="*/ 461269 w 461269"/>
                <a:gd name="connsiteY0" fmla="*/ 638345 h 638344"/>
                <a:gd name="connsiteX1" fmla="*/ 323544 w 461269"/>
                <a:gd name="connsiteY1" fmla="*/ 638345 h 638344"/>
                <a:gd name="connsiteX2" fmla="*/ 323544 w 461269"/>
                <a:gd name="connsiteY2" fmla="*/ 487503 h 638344"/>
                <a:gd name="connsiteX3" fmla="*/ 137725 w 461269"/>
                <a:gd name="connsiteY3" fmla="*/ 487503 h 638344"/>
                <a:gd name="connsiteX4" fmla="*/ 137725 w 461269"/>
                <a:gd name="connsiteY4" fmla="*/ 638345 h 638344"/>
                <a:gd name="connsiteX5" fmla="*/ 0 w 461269"/>
                <a:gd name="connsiteY5" fmla="*/ 638345 h 638344"/>
                <a:gd name="connsiteX6" fmla="*/ 0 w 461269"/>
                <a:gd name="connsiteY6" fmla="*/ 188006 h 638344"/>
                <a:gd name="connsiteX7" fmla="*/ 190192 w 461269"/>
                <a:gd name="connsiteY7" fmla="*/ 0 h 638344"/>
                <a:gd name="connsiteX8" fmla="*/ 268892 w 461269"/>
                <a:gd name="connsiteY8" fmla="*/ 0 h 638344"/>
                <a:gd name="connsiteX9" fmla="*/ 461269 w 461269"/>
                <a:gd name="connsiteY9" fmla="*/ 192378 h 638344"/>
                <a:gd name="connsiteX10" fmla="*/ 461269 w 461269"/>
                <a:gd name="connsiteY10" fmla="*/ 638345 h 638344"/>
                <a:gd name="connsiteX11" fmla="*/ 137725 w 461269"/>
                <a:gd name="connsiteY11" fmla="*/ 351964 h 638344"/>
                <a:gd name="connsiteX12" fmla="*/ 323544 w 461269"/>
                <a:gd name="connsiteY12" fmla="*/ 351964 h 638344"/>
                <a:gd name="connsiteX13" fmla="*/ 323544 w 461269"/>
                <a:gd name="connsiteY13" fmla="*/ 201122 h 638344"/>
                <a:gd name="connsiteX14" fmla="*/ 262333 w 461269"/>
                <a:gd name="connsiteY14" fmla="*/ 135539 h 638344"/>
                <a:gd name="connsiteX15" fmla="*/ 198936 w 461269"/>
                <a:gd name="connsiteY15" fmla="*/ 135539 h 638344"/>
                <a:gd name="connsiteX16" fmla="*/ 137725 w 461269"/>
                <a:gd name="connsiteY16" fmla="*/ 194564 h 638344"/>
                <a:gd name="connsiteX17" fmla="*/ 137725 w 461269"/>
                <a:gd name="connsiteY17" fmla="*/ 351964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61269" h="638344">
                  <a:moveTo>
                    <a:pt x="461269" y="638345"/>
                  </a:moveTo>
                  <a:lnTo>
                    <a:pt x="323544" y="638345"/>
                  </a:lnTo>
                  <a:lnTo>
                    <a:pt x="323544" y="487503"/>
                  </a:lnTo>
                  <a:lnTo>
                    <a:pt x="137725" y="487503"/>
                  </a:lnTo>
                  <a:lnTo>
                    <a:pt x="137725" y="638345"/>
                  </a:lnTo>
                  <a:lnTo>
                    <a:pt x="0" y="638345"/>
                  </a:lnTo>
                  <a:lnTo>
                    <a:pt x="0" y="188006"/>
                  </a:lnTo>
                  <a:cubicBezTo>
                    <a:pt x="0" y="61211"/>
                    <a:pt x="63397" y="0"/>
                    <a:pt x="190192" y="0"/>
                  </a:cubicBezTo>
                  <a:lnTo>
                    <a:pt x="268892" y="0"/>
                  </a:lnTo>
                  <a:cubicBezTo>
                    <a:pt x="397872" y="0"/>
                    <a:pt x="461269" y="63397"/>
                    <a:pt x="461269" y="192378"/>
                  </a:cubicBezTo>
                  <a:lnTo>
                    <a:pt x="461269" y="638345"/>
                  </a:lnTo>
                  <a:close/>
                  <a:moveTo>
                    <a:pt x="137725" y="351964"/>
                  </a:moveTo>
                  <a:lnTo>
                    <a:pt x="323544" y="351964"/>
                  </a:lnTo>
                  <a:lnTo>
                    <a:pt x="323544" y="201122"/>
                  </a:lnTo>
                  <a:cubicBezTo>
                    <a:pt x="323544" y="163958"/>
                    <a:pt x="295125" y="135539"/>
                    <a:pt x="262333" y="135539"/>
                  </a:cubicBezTo>
                  <a:lnTo>
                    <a:pt x="198936" y="135539"/>
                  </a:lnTo>
                  <a:cubicBezTo>
                    <a:pt x="163958" y="135539"/>
                    <a:pt x="137725" y="161772"/>
                    <a:pt x="137725" y="194564"/>
                  </a:cubicBezTo>
                  <a:lnTo>
                    <a:pt x="137725" y="351964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id="{6C07CA86-CC65-AF69-8C6B-50AC00EAE161}"/>
                </a:ext>
              </a:extLst>
            </p:cNvPr>
            <p:cNvSpPr/>
            <p:nvPr/>
          </p:nvSpPr>
          <p:spPr>
            <a:xfrm>
              <a:off x="4205272" y="4495188"/>
              <a:ext cx="327916" cy="638344"/>
            </a:xfrm>
            <a:custGeom>
              <a:avLst/>
              <a:gdLst>
                <a:gd name="connsiteX0" fmla="*/ 327917 w 327916"/>
                <a:gd name="connsiteY0" fmla="*/ 638345 h 638344"/>
                <a:gd name="connsiteX1" fmla="*/ 0 w 327916"/>
                <a:gd name="connsiteY1" fmla="*/ 638345 h 638344"/>
                <a:gd name="connsiteX2" fmla="*/ 0 w 327916"/>
                <a:gd name="connsiteY2" fmla="*/ 0 h 638344"/>
                <a:gd name="connsiteX3" fmla="*/ 137725 w 327916"/>
                <a:gd name="connsiteY3" fmla="*/ 0 h 638344"/>
                <a:gd name="connsiteX4" fmla="*/ 137725 w 327916"/>
                <a:gd name="connsiteY4" fmla="*/ 500620 h 638344"/>
                <a:gd name="connsiteX5" fmla="*/ 327917 w 327916"/>
                <a:gd name="connsiteY5" fmla="*/ 500620 h 638344"/>
                <a:gd name="connsiteX6" fmla="*/ 327917 w 327916"/>
                <a:gd name="connsiteY6" fmla="*/ 638345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7916" h="638344">
                  <a:moveTo>
                    <a:pt x="327917" y="638345"/>
                  </a:moveTo>
                  <a:lnTo>
                    <a:pt x="0" y="638345"/>
                  </a:lnTo>
                  <a:lnTo>
                    <a:pt x="0" y="0"/>
                  </a:lnTo>
                  <a:lnTo>
                    <a:pt x="137725" y="0"/>
                  </a:lnTo>
                  <a:lnTo>
                    <a:pt x="137725" y="500620"/>
                  </a:lnTo>
                  <a:lnTo>
                    <a:pt x="327917" y="500620"/>
                  </a:lnTo>
                  <a:lnTo>
                    <a:pt x="327917" y="638345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" name="Freihandform: Form 25">
              <a:extLst>
                <a:ext uri="{FF2B5EF4-FFF2-40B4-BE49-F238E27FC236}">
                  <a16:creationId xmlns:a16="http://schemas.microsoft.com/office/drawing/2014/main" id="{AF03A757-4A87-6815-B48B-65B9C776377A}"/>
                </a:ext>
              </a:extLst>
            </p:cNvPr>
            <p:cNvSpPr/>
            <p:nvPr/>
          </p:nvSpPr>
          <p:spPr>
            <a:xfrm>
              <a:off x="4627192" y="4495188"/>
              <a:ext cx="327916" cy="638344"/>
            </a:xfrm>
            <a:custGeom>
              <a:avLst/>
              <a:gdLst>
                <a:gd name="connsiteX0" fmla="*/ 325730 w 327916"/>
                <a:gd name="connsiteY0" fmla="*/ 638345 h 638344"/>
                <a:gd name="connsiteX1" fmla="*/ 0 w 327916"/>
                <a:gd name="connsiteY1" fmla="*/ 638345 h 638344"/>
                <a:gd name="connsiteX2" fmla="*/ 0 w 327916"/>
                <a:gd name="connsiteY2" fmla="*/ 0 h 638344"/>
                <a:gd name="connsiteX3" fmla="*/ 137725 w 327916"/>
                <a:gd name="connsiteY3" fmla="*/ 0 h 638344"/>
                <a:gd name="connsiteX4" fmla="*/ 137725 w 327916"/>
                <a:gd name="connsiteY4" fmla="*/ 500620 h 638344"/>
                <a:gd name="connsiteX5" fmla="*/ 327917 w 327916"/>
                <a:gd name="connsiteY5" fmla="*/ 500620 h 638344"/>
                <a:gd name="connsiteX6" fmla="*/ 327917 w 327916"/>
                <a:gd name="connsiteY6" fmla="*/ 638345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7916" h="638344">
                  <a:moveTo>
                    <a:pt x="325730" y="638345"/>
                  </a:moveTo>
                  <a:lnTo>
                    <a:pt x="0" y="638345"/>
                  </a:lnTo>
                  <a:lnTo>
                    <a:pt x="0" y="0"/>
                  </a:lnTo>
                  <a:lnTo>
                    <a:pt x="137725" y="0"/>
                  </a:lnTo>
                  <a:lnTo>
                    <a:pt x="137725" y="500620"/>
                  </a:lnTo>
                  <a:lnTo>
                    <a:pt x="327917" y="500620"/>
                  </a:lnTo>
                  <a:lnTo>
                    <a:pt x="327917" y="638345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7EA6662F-D9A6-E4FF-5F1E-90BEE28F5DEE}"/>
                </a:ext>
              </a:extLst>
            </p:cNvPr>
            <p:cNvSpPr/>
            <p:nvPr/>
          </p:nvSpPr>
          <p:spPr>
            <a:xfrm>
              <a:off x="5849228" y="4495188"/>
              <a:ext cx="349777" cy="638344"/>
            </a:xfrm>
            <a:custGeom>
              <a:avLst/>
              <a:gdLst>
                <a:gd name="connsiteX0" fmla="*/ 349778 w 349777"/>
                <a:gd name="connsiteY0" fmla="*/ 638345 h 638344"/>
                <a:gd name="connsiteX1" fmla="*/ 0 w 349777"/>
                <a:gd name="connsiteY1" fmla="*/ 638345 h 638344"/>
                <a:gd name="connsiteX2" fmla="*/ 0 w 349777"/>
                <a:gd name="connsiteY2" fmla="*/ 0 h 638344"/>
                <a:gd name="connsiteX3" fmla="*/ 349778 w 349777"/>
                <a:gd name="connsiteY3" fmla="*/ 0 h 638344"/>
                <a:gd name="connsiteX4" fmla="*/ 349778 w 349777"/>
                <a:gd name="connsiteY4" fmla="*/ 137725 h 638344"/>
                <a:gd name="connsiteX5" fmla="*/ 137725 w 349777"/>
                <a:gd name="connsiteY5" fmla="*/ 137725 h 638344"/>
                <a:gd name="connsiteX6" fmla="*/ 137725 w 349777"/>
                <a:gd name="connsiteY6" fmla="*/ 251403 h 638344"/>
                <a:gd name="connsiteX7" fmla="*/ 349778 w 349777"/>
                <a:gd name="connsiteY7" fmla="*/ 251403 h 638344"/>
                <a:gd name="connsiteX8" fmla="*/ 349778 w 349777"/>
                <a:gd name="connsiteY8" fmla="*/ 389128 h 638344"/>
                <a:gd name="connsiteX9" fmla="*/ 137725 w 349777"/>
                <a:gd name="connsiteY9" fmla="*/ 389128 h 638344"/>
                <a:gd name="connsiteX10" fmla="*/ 137725 w 349777"/>
                <a:gd name="connsiteY10" fmla="*/ 500620 h 638344"/>
                <a:gd name="connsiteX11" fmla="*/ 349778 w 349777"/>
                <a:gd name="connsiteY11" fmla="*/ 500620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49777" h="638344">
                  <a:moveTo>
                    <a:pt x="349778" y="638345"/>
                  </a:moveTo>
                  <a:lnTo>
                    <a:pt x="0" y="638345"/>
                  </a:lnTo>
                  <a:lnTo>
                    <a:pt x="0" y="0"/>
                  </a:lnTo>
                  <a:lnTo>
                    <a:pt x="349778" y="0"/>
                  </a:lnTo>
                  <a:lnTo>
                    <a:pt x="349778" y="137725"/>
                  </a:lnTo>
                  <a:lnTo>
                    <a:pt x="137725" y="137725"/>
                  </a:lnTo>
                  <a:lnTo>
                    <a:pt x="137725" y="251403"/>
                  </a:lnTo>
                  <a:lnTo>
                    <a:pt x="349778" y="251403"/>
                  </a:lnTo>
                  <a:lnTo>
                    <a:pt x="349778" y="389128"/>
                  </a:lnTo>
                  <a:lnTo>
                    <a:pt x="137725" y="389128"/>
                  </a:lnTo>
                  <a:lnTo>
                    <a:pt x="137725" y="500620"/>
                  </a:lnTo>
                  <a:lnTo>
                    <a:pt x="349778" y="500620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id="{CEF51744-D32D-3344-734E-CC6EDA2B7051}"/>
                </a:ext>
              </a:extLst>
            </p:cNvPr>
            <p:cNvSpPr/>
            <p:nvPr/>
          </p:nvSpPr>
          <p:spPr>
            <a:xfrm>
              <a:off x="6321428" y="4495188"/>
              <a:ext cx="441594" cy="638344"/>
            </a:xfrm>
            <a:custGeom>
              <a:avLst/>
              <a:gdLst>
                <a:gd name="connsiteX0" fmla="*/ 439408 w 441594"/>
                <a:gd name="connsiteY0" fmla="*/ 450339 h 638344"/>
                <a:gd name="connsiteX1" fmla="*/ 391314 w 441594"/>
                <a:gd name="connsiteY1" fmla="*/ 360708 h 638344"/>
                <a:gd name="connsiteX2" fmla="*/ 439408 w 441594"/>
                <a:gd name="connsiteY2" fmla="*/ 273264 h 638344"/>
                <a:gd name="connsiteX3" fmla="*/ 439408 w 441594"/>
                <a:gd name="connsiteY3" fmla="*/ 179261 h 638344"/>
                <a:gd name="connsiteX4" fmla="*/ 266706 w 441594"/>
                <a:gd name="connsiteY4" fmla="*/ 0 h 638344"/>
                <a:gd name="connsiteX5" fmla="*/ 0 w 441594"/>
                <a:gd name="connsiteY5" fmla="*/ 0 h 638344"/>
                <a:gd name="connsiteX6" fmla="*/ 0 w 441594"/>
                <a:gd name="connsiteY6" fmla="*/ 638345 h 638344"/>
                <a:gd name="connsiteX7" fmla="*/ 137725 w 441594"/>
                <a:gd name="connsiteY7" fmla="*/ 638345 h 638344"/>
                <a:gd name="connsiteX8" fmla="*/ 137725 w 441594"/>
                <a:gd name="connsiteY8" fmla="*/ 435036 h 638344"/>
                <a:gd name="connsiteX9" fmla="*/ 251403 w 441594"/>
                <a:gd name="connsiteY9" fmla="*/ 435036 h 638344"/>
                <a:gd name="connsiteX10" fmla="*/ 314800 w 441594"/>
                <a:gd name="connsiteY10" fmla="*/ 500620 h 638344"/>
                <a:gd name="connsiteX11" fmla="*/ 314800 w 441594"/>
                <a:gd name="connsiteY11" fmla="*/ 638345 h 638344"/>
                <a:gd name="connsiteX12" fmla="*/ 441594 w 441594"/>
                <a:gd name="connsiteY12" fmla="*/ 638345 h 638344"/>
                <a:gd name="connsiteX13" fmla="*/ 439408 w 441594"/>
                <a:gd name="connsiteY13" fmla="*/ 450339 h 638344"/>
                <a:gd name="connsiteX14" fmla="*/ 312614 w 441594"/>
                <a:gd name="connsiteY14" fmla="*/ 244844 h 638344"/>
                <a:gd name="connsiteX15" fmla="*/ 251403 w 441594"/>
                <a:gd name="connsiteY15" fmla="*/ 306056 h 638344"/>
                <a:gd name="connsiteX16" fmla="*/ 137725 w 441594"/>
                <a:gd name="connsiteY16" fmla="*/ 306056 h 638344"/>
                <a:gd name="connsiteX17" fmla="*/ 137725 w 441594"/>
                <a:gd name="connsiteY17" fmla="*/ 135539 h 638344"/>
                <a:gd name="connsiteX18" fmla="*/ 251403 w 441594"/>
                <a:gd name="connsiteY18" fmla="*/ 135539 h 638344"/>
                <a:gd name="connsiteX19" fmla="*/ 314800 w 441594"/>
                <a:gd name="connsiteY19" fmla="*/ 196750 h 638344"/>
                <a:gd name="connsiteX20" fmla="*/ 314800 w 441594"/>
                <a:gd name="connsiteY20" fmla="*/ 244844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41594" h="638344">
                  <a:moveTo>
                    <a:pt x="439408" y="450339"/>
                  </a:moveTo>
                  <a:cubicBezTo>
                    <a:pt x="439408" y="395686"/>
                    <a:pt x="406617" y="369453"/>
                    <a:pt x="391314" y="360708"/>
                  </a:cubicBezTo>
                  <a:cubicBezTo>
                    <a:pt x="408803" y="349778"/>
                    <a:pt x="439408" y="323545"/>
                    <a:pt x="439408" y="273264"/>
                  </a:cubicBezTo>
                  <a:cubicBezTo>
                    <a:pt x="439408" y="238286"/>
                    <a:pt x="439408" y="179261"/>
                    <a:pt x="439408" y="179261"/>
                  </a:cubicBezTo>
                  <a:cubicBezTo>
                    <a:pt x="439408" y="26233"/>
                    <a:pt x="384755" y="0"/>
                    <a:pt x="266706" y="0"/>
                  </a:cubicBezTo>
                  <a:lnTo>
                    <a:pt x="0" y="0"/>
                  </a:lnTo>
                  <a:lnTo>
                    <a:pt x="0" y="638345"/>
                  </a:lnTo>
                  <a:lnTo>
                    <a:pt x="137725" y="638345"/>
                  </a:lnTo>
                  <a:lnTo>
                    <a:pt x="137725" y="435036"/>
                  </a:lnTo>
                  <a:lnTo>
                    <a:pt x="251403" y="435036"/>
                  </a:lnTo>
                  <a:cubicBezTo>
                    <a:pt x="301683" y="435036"/>
                    <a:pt x="314800" y="459083"/>
                    <a:pt x="314800" y="500620"/>
                  </a:cubicBezTo>
                  <a:lnTo>
                    <a:pt x="314800" y="638345"/>
                  </a:lnTo>
                  <a:lnTo>
                    <a:pt x="441594" y="638345"/>
                  </a:lnTo>
                  <a:lnTo>
                    <a:pt x="439408" y="450339"/>
                  </a:lnTo>
                  <a:close/>
                  <a:moveTo>
                    <a:pt x="312614" y="244844"/>
                  </a:moveTo>
                  <a:cubicBezTo>
                    <a:pt x="312614" y="277636"/>
                    <a:pt x="284195" y="306056"/>
                    <a:pt x="251403" y="306056"/>
                  </a:cubicBezTo>
                  <a:lnTo>
                    <a:pt x="137725" y="306056"/>
                  </a:lnTo>
                  <a:lnTo>
                    <a:pt x="137725" y="135539"/>
                  </a:lnTo>
                  <a:lnTo>
                    <a:pt x="251403" y="135539"/>
                  </a:lnTo>
                  <a:cubicBezTo>
                    <a:pt x="290753" y="135539"/>
                    <a:pt x="314800" y="166144"/>
                    <a:pt x="314800" y="196750"/>
                  </a:cubicBezTo>
                  <a:lnTo>
                    <a:pt x="314800" y="244844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id="{D7F20FC5-F85D-39CE-C9D3-9D4BBA9B292D}"/>
                </a:ext>
              </a:extLst>
            </p:cNvPr>
            <p:cNvSpPr/>
            <p:nvPr/>
          </p:nvSpPr>
          <p:spPr>
            <a:xfrm>
              <a:off x="5055670" y="4495188"/>
              <a:ext cx="675508" cy="642716"/>
            </a:xfrm>
            <a:custGeom>
              <a:avLst/>
              <a:gdLst>
                <a:gd name="connsiteX0" fmla="*/ 489689 w 675508"/>
                <a:gd name="connsiteY0" fmla="*/ 0 h 642716"/>
                <a:gd name="connsiteX1" fmla="*/ 424106 w 675508"/>
                <a:gd name="connsiteY1" fmla="*/ 0 h 642716"/>
                <a:gd name="connsiteX2" fmla="*/ 334475 w 675508"/>
                <a:gd name="connsiteY2" fmla="*/ 48094 h 642716"/>
                <a:gd name="connsiteX3" fmla="*/ 247031 w 675508"/>
                <a:gd name="connsiteY3" fmla="*/ 0 h 642716"/>
                <a:gd name="connsiteX4" fmla="*/ 181447 w 675508"/>
                <a:gd name="connsiteY4" fmla="*/ 0 h 642716"/>
                <a:gd name="connsiteX5" fmla="*/ 0 w 675508"/>
                <a:gd name="connsiteY5" fmla="*/ 192378 h 642716"/>
                <a:gd name="connsiteX6" fmla="*/ 0 w 675508"/>
                <a:gd name="connsiteY6" fmla="*/ 640531 h 642716"/>
                <a:gd name="connsiteX7" fmla="*/ 135539 w 675508"/>
                <a:gd name="connsiteY7" fmla="*/ 640531 h 642716"/>
                <a:gd name="connsiteX8" fmla="*/ 135539 w 675508"/>
                <a:gd name="connsiteY8" fmla="*/ 177075 h 642716"/>
                <a:gd name="connsiteX9" fmla="*/ 139911 w 675508"/>
                <a:gd name="connsiteY9" fmla="*/ 155214 h 642716"/>
                <a:gd name="connsiteX10" fmla="*/ 155214 w 675508"/>
                <a:gd name="connsiteY10" fmla="*/ 150842 h 642716"/>
                <a:gd name="connsiteX11" fmla="*/ 249217 w 675508"/>
                <a:gd name="connsiteY11" fmla="*/ 150842 h 642716"/>
                <a:gd name="connsiteX12" fmla="*/ 264519 w 675508"/>
                <a:gd name="connsiteY12" fmla="*/ 155214 h 642716"/>
                <a:gd name="connsiteX13" fmla="*/ 268892 w 675508"/>
                <a:gd name="connsiteY13" fmla="*/ 179261 h 642716"/>
                <a:gd name="connsiteX14" fmla="*/ 268892 w 675508"/>
                <a:gd name="connsiteY14" fmla="*/ 642717 h 642716"/>
                <a:gd name="connsiteX15" fmla="*/ 268892 w 675508"/>
                <a:gd name="connsiteY15" fmla="*/ 642717 h 642716"/>
                <a:gd name="connsiteX16" fmla="*/ 406617 w 675508"/>
                <a:gd name="connsiteY16" fmla="*/ 642717 h 642716"/>
                <a:gd name="connsiteX17" fmla="*/ 406617 w 675508"/>
                <a:gd name="connsiteY17" fmla="*/ 179261 h 642716"/>
                <a:gd name="connsiteX18" fmla="*/ 410989 w 675508"/>
                <a:gd name="connsiteY18" fmla="*/ 155214 h 642716"/>
                <a:gd name="connsiteX19" fmla="*/ 426292 w 675508"/>
                <a:gd name="connsiteY19" fmla="*/ 150842 h 642716"/>
                <a:gd name="connsiteX20" fmla="*/ 520294 w 675508"/>
                <a:gd name="connsiteY20" fmla="*/ 150842 h 642716"/>
                <a:gd name="connsiteX21" fmla="*/ 535597 w 675508"/>
                <a:gd name="connsiteY21" fmla="*/ 155214 h 642716"/>
                <a:gd name="connsiteX22" fmla="*/ 539970 w 675508"/>
                <a:gd name="connsiteY22" fmla="*/ 177075 h 642716"/>
                <a:gd name="connsiteX23" fmla="*/ 539970 w 675508"/>
                <a:gd name="connsiteY23" fmla="*/ 640531 h 642716"/>
                <a:gd name="connsiteX24" fmla="*/ 675509 w 675508"/>
                <a:gd name="connsiteY24" fmla="*/ 640531 h 642716"/>
                <a:gd name="connsiteX25" fmla="*/ 675509 w 675508"/>
                <a:gd name="connsiteY25" fmla="*/ 192378 h 642716"/>
                <a:gd name="connsiteX26" fmla="*/ 489689 w 675508"/>
                <a:gd name="connsiteY26" fmla="*/ 0 h 642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75508" h="642716">
                  <a:moveTo>
                    <a:pt x="489689" y="0"/>
                  </a:moveTo>
                  <a:lnTo>
                    <a:pt x="424106" y="0"/>
                  </a:lnTo>
                  <a:cubicBezTo>
                    <a:pt x="369453" y="0"/>
                    <a:pt x="343220" y="32792"/>
                    <a:pt x="334475" y="48094"/>
                  </a:cubicBezTo>
                  <a:cubicBezTo>
                    <a:pt x="323544" y="30606"/>
                    <a:pt x="297311" y="0"/>
                    <a:pt x="247031" y="0"/>
                  </a:cubicBezTo>
                  <a:lnTo>
                    <a:pt x="181447" y="0"/>
                  </a:lnTo>
                  <a:cubicBezTo>
                    <a:pt x="43722" y="0"/>
                    <a:pt x="0" y="26233"/>
                    <a:pt x="0" y="192378"/>
                  </a:cubicBezTo>
                  <a:lnTo>
                    <a:pt x="0" y="640531"/>
                  </a:lnTo>
                  <a:lnTo>
                    <a:pt x="135539" y="640531"/>
                  </a:lnTo>
                  <a:lnTo>
                    <a:pt x="135539" y="177075"/>
                  </a:lnTo>
                  <a:cubicBezTo>
                    <a:pt x="135539" y="163958"/>
                    <a:pt x="135539" y="157400"/>
                    <a:pt x="139911" y="155214"/>
                  </a:cubicBezTo>
                  <a:cubicBezTo>
                    <a:pt x="142097" y="153028"/>
                    <a:pt x="148655" y="150842"/>
                    <a:pt x="155214" y="150842"/>
                  </a:cubicBezTo>
                  <a:lnTo>
                    <a:pt x="249217" y="150842"/>
                  </a:lnTo>
                  <a:cubicBezTo>
                    <a:pt x="255775" y="150842"/>
                    <a:pt x="260147" y="150842"/>
                    <a:pt x="264519" y="155214"/>
                  </a:cubicBezTo>
                  <a:cubicBezTo>
                    <a:pt x="268892" y="159586"/>
                    <a:pt x="268892" y="163958"/>
                    <a:pt x="268892" y="179261"/>
                  </a:cubicBezTo>
                  <a:lnTo>
                    <a:pt x="268892" y="642717"/>
                  </a:lnTo>
                  <a:lnTo>
                    <a:pt x="268892" y="642717"/>
                  </a:lnTo>
                  <a:lnTo>
                    <a:pt x="406617" y="642717"/>
                  </a:lnTo>
                  <a:lnTo>
                    <a:pt x="406617" y="179261"/>
                  </a:lnTo>
                  <a:cubicBezTo>
                    <a:pt x="406617" y="166144"/>
                    <a:pt x="406617" y="159586"/>
                    <a:pt x="410989" y="155214"/>
                  </a:cubicBezTo>
                  <a:cubicBezTo>
                    <a:pt x="413175" y="153028"/>
                    <a:pt x="419734" y="150842"/>
                    <a:pt x="426292" y="150842"/>
                  </a:cubicBezTo>
                  <a:lnTo>
                    <a:pt x="520294" y="150842"/>
                  </a:lnTo>
                  <a:cubicBezTo>
                    <a:pt x="526853" y="150842"/>
                    <a:pt x="533411" y="150842"/>
                    <a:pt x="535597" y="155214"/>
                  </a:cubicBezTo>
                  <a:cubicBezTo>
                    <a:pt x="539970" y="159586"/>
                    <a:pt x="539970" y="163958"/>
                    <a:pt x="539970" y="177075"/>
                  </a:cubicBezTo>
                  <a:lnTo>
                    <a:pt x="539970" y="640531"/>
                  </a:lnTo>
                  <a:lnTo>
                    <a:pt x="675509" y="640531"/>
                  </a:lnTo>
                  <a:lnTo>
                    <a:pt x="675509" y="192378"/>
                  </a:lnTo>
                  <a:cubicBezTo>
                    <a:pt x="671136" y="26233"/>
                    <a:pt x="627414" y="0"/>
                    <a:pt x="489689" y="0"/>
                  </a:cubicBez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34" name="Bildplatzhalter 22">
            <a:extLst>
              <a:ext uri="{FF2B5EF4-FFF2-40B4-BE49-F238E27FC236}">
                <a16:creationId xmlns:a16="http://schemas.microsoft.com/office/drawing/2014/main" id="{073A642A-CED5-078E-30E4-9A81124F034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  <a:solidFill>
            <a:schemeClr val="tx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4" name="object 4">
            <a:extLst>
              <a:ext uri="{FF2B5EF4-FFF2-40B4-BE49-F238E27FC236}">
                <a16:creationId xmlns:a16="http://schemas.microsoft.com/office/drawing/2014/main" id="{E5115A5B-63BD-A241-938F-35F3A7568747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408768" y="4944978"/>
            <a:ext cx="3186616" cy="499651"/>
          </a:xfrm>
          <a:prstGeom prst="rect">
            <a:avLst/>
          </a:prstGeom>
        </p:spPr>
        <p:txBody>
          <a:bodyPr vert="horz" wrap="square" lIns="0" tIns="2545" rIns="0" bIns="0" rtlCol="0">
            <a:spAutoFit/>
          </a:bodyPr>
          <a:lstStyle/>
          <a:p>
            <a:pPr marL="12724" marR="5090">
              <a:lnSpc>
                <a:spcPct val="104200"/>
              </a:lnSpc>
              <a:spcBef>
                <a:spcPts val="20"/>
              </a:spcBef>
            </a:pPr>
            <a:r>
              <a:rPr sz="1603" spc="0" dirty="0">
                <a:solidFill>
                  <a:srgbClr val="FFFFFF"/>
                </a:solidFill>
                <a:latin typeface="+mn-lt"/>
                <a:cs typeface="Trebuchet MS"/>
              </a:rPr>
              <a:t>Mehr Infos und aktuelle Termine finden Sie unter dallmer.de/sessions</a:t>
            </a:r>
            <a:endParaRPr sz="1603" spc="0">
              <a:latin typeface="+mn-lt"/>
              <a:cs typeface="Trebuchet MS"/>
            </a:endParaRPr>
          </a:p>
        </p:txBody>
      </p:sp>
      <p:sp>
        <p:nvSpPr>
          <p:cNvPr id="5" name="object 5">
            <a:extLst>
              <a:ext uri="{FF2B5EF4-FFF2-40B4-BE49-F238E27FC236}">
                <a16:creationId xmlns:a16="http://schemas.microsoft.com/office/drawing/2014/main" id="{26244F1C-8DBD-3E4B-62A6-374ABBA6A73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421491" y="4438808"/>
            <a:ext cx="1214464" cy="0"/>
          </a:xfrm>
          <a:custGeom>
            <a:avLst/>
            <a:gdLst/>
            <a:ahLst/>
            <a:cxnLst/>
            <a:rect l="l" t="t" r="r" b="b"/>
            <a:pathLst>
              <a:path w="1212214">
                <a:moveTo>
                  <a:pt x="0" y="0"/>
                </a:moveTo>
                <a:lnTo>
                  <a:pt x="1212062" y="0"/>
                </a:lnTo>
              </a:path>
            </a:pathLst>
          </a:custGeom>
          <a:ln w="635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pc="0">
              <a:latin typeface="+mn-lt"/>
            </a:endParaRPr>
          </a:p>
        </p:txBody>
      </p:sp>
      <p:grpSp>
        <p:nvGrpSpPr>
          <p:cNvPr id="6" name="object 6">
            <a:extLst>
              <a:ext uri="{FF2B5EF4-FFF2-40B4-BE49-F238E27FC236}">
                <a16:creationId xmlns:a16="http://schemas.microsoft.com/office/drawing/2014/main" id="{83798B02-A958-4EFA-3C37-226E92B7F810}"/>
              </a:ext>
            </a:extLst>
          </p:cNvPr>
          <p:cNvGrpSpPr/>
          <p:nvPr userDrawn="1"/>
        </p:nvGrpSpPr>
        <p:grpSpPr>
          <a:xfrm>
            <a:off x="4965969" y="4435637"/>
            <a:ext cx="986076" cy="986076"/>
            <a:chOff x="4968062" y="4427423"/>
            <a:chExt cx="984250" cy="984250"/>
          </a:xfrm>
        </p:grpSpPr>
        <p:sp>
          <p:nvSpPr>
            <p:cNvPr id="7" name="object 7">
              <a:extLst>
                <a:ext uri="{FF2B5EF4-FFF2-40B4-BE49-F238E27FC236}">
                  <a16:creationId xmlns:a16="http://schemas.microsoft.com/office/drawing/2014/main" id="{590B1813-1A3C-2AC8-EF50-E52CCC7069B9}"/>
                </a:ext>
              </a:extLst>
            </p:cNvPr>
            <p:cNvSpPr/>
            <p:nvPr/>
          </p:nvSpPr>
          <p:spPr>
            <a:xfrm>
              <a:off x="4968062" y="4427423"/>
              <a:ext cx="984250" cy="984250"/>
            </a:xfrm>
            <a:custGeom>
              <a:avLst/>
              <a:gdLst/>
              <a:ahLst/>
              <a:cxnLst/>
              <a:rect l="l" t="t" r="r" b="b"/>
              <a:pathLst>
                <a:path w="984250" h="984250">
                  <a:moveTo>
                    <a:pt x="983996" y="0"/>
                  </a:moveTo>
                  <a:lnTo>
                    <a:pt x="0" y="0"/>
                  </a:lnTo>
                  <a:lnTo>
                    <a:pt x="0" y="983995"/>
                  </a:lnTo>
                  <a:lnTo>
                    <a:pt x="983996" y="983995"/>
                  </a:lnTo>
                  <a:lnTo>
                    <a:pt x="983996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>
              <a:extLst>
                <a:ext uri="{FF2B5EF4-FFF2-40B4-BE49-F238E27FC236}">
                  <a16:creationId xmlns:a16="http://schemas.microsoft.com/office/drawing/2014/main" id="{96C11330-9411-4D4A-8C7C-B6079919A751}"/>
                </a:ext>
              </a:extLst>
            </p:cNvPr>
            <p:cNvSpPr/>
            <p:nvPr/>
          </p:nvSpPr>
          <p:spPr>
            <a:xfrm>
              <a:off x="5074437" y="4533785"/>
              <a:ext cx="160020" cy="771525"/>
            </a:xfrm>
            <a:custGeom>
              <a:avLst/>
              <a:gdLst/>
              <a:ahLst/>
              <a:cxnLst/>
              <a:rect l="l" t="t" r="r" b="b"/>
              <a:pathLst>
                <a:path w="160020" h="771525">
                  <a:moveTo>
                    <a:pt x="26593" y="452120"/>
                  </a:moveTo>
                  <a:lnTo>
                    <a:pt x="0" y="452120"/>
                  </a:lnTo>
                  <a:lnTo>
                    <a:pt x="0" y="558495"/>
                  </a:lnTo>
                  <a:lnTo>
                    <a:pt x="26593" y="558495"/>
                  </a:lnTo>
                  <a:lnTo>
                    <a:pt x="26593" y="452120"/>
                  </a:lnTo>
                  <a:close/>
                </a:path>
                <a:path w="160020" h="771525">
                  <a:moveTo>
                    <a:pt x="26593" y="212763"/>
                  </a:moveTo>
                  <a:lnTo>
                    <a:pt x="0" y="212763"/>
                  </a:lnTo>
                  <a:lnTo>
                    <a:pt x="0" y="239356"/>
                  </a:lnTo>
                  <a:lnTo>
                    <a:pt x="26593" y="239356"/>
                  </a:lnTo>
                  <a:lnTo>
                    <a:pt x="26593" y="212763"/>
                  </a:lnTo>
                  <a:close/>
                </a:path>
                <a:path w="160020" h="771525">
                  <a:moveTo>
                    <a:pt x="53187" y="425513"/>
                  </a:moveTo>
                  <a:lnTo>
                    <a:pt x="26593" y="425513"/>
                  </a:lnTo>
                  <a:lnTo>
                    <a:pt x="26593" y="452107"/>
                  </a:lnTo>
                  <a:lnTo>
                    <a:pt x="53187" y="452107"/>
                  </a:lnTo>
                  <a:lnTo>
                    <a:pt x="53187" y="425513"/>
                  </a:lnTo>
                  <a:close/>
                </a:path>
                <a:path w="160020" h="771525">
                  <a:moveTo>
                    <a:pt x="53187" y="372325"/>
                  </a:moveTo>
                  <a:lnTo>
                    <a:pt x="26593" y="372325"/>
                  </a:lnTo>
                  <a:lnTo>
                    <a:pt x="26593" y="398919"/>
                  </a:lnTo>
                  <a:lnTo>
                    <a:pt x="53187" y="398919"/>
                  </a:lnTo>
                  <a:lnTo>
                    <a:pt x="53187" y="372325"/>
                  </a:lnTo>
                  <a:close/>
                </a:path>
                <a:path w="160020" h="771525">
                  <a:moveTo>
                    <a:pt x="53187" y="239356"/>
                  </a:moveTo>
                  <a:lnTo>
                    <a:pt x="26593" y="239356"/>
                  </a:lnTo>
                  <a:lnTo>
                    <a:pt x="26593" y="265950"/>
                  </a:lnTo>
                  <a:lnTo>
                    <a:pt x="53187" y="265950"/>
                  </a:lnTo>
                  <a:lnTo>
                    <a:pt x="53187" y="239356"/>
                  </a:lnTo>
                  <a:close/>
                </a:path>
                <a:path w="160020" h="771525">
                  <a:moveTo>
                    <a:pt x="132969" y="638276"/>
                  </a:moveTo>
                  <a:lnTo>
                    <a:pt x="106375" y="638276"/>
                  </a:lnTo>
                  <a:lnTo>
                    <a:pt x="79781" y="638276"/>
                  </a:lnTo>
                  <a:lnTo>
                    <a:pt x="53187" y="638276"/>
                  </a:lnTo>
                  <a:lnTo>
                    <a:pt x="53187" y="718058"/>
                  </a:lnTo>
                  <a:lnTo>
                    <a:pt x="79781" y="718058"/>
                  </a:lnTo>
                  <a:lnTo>
                    <a:pt x="106375" y="718058"/>
                  </a:lnTo>
                  <a:lnTo>
                    <a:pt x="132969" y="718058"/>
                  </a:lnTo>
                  <a:lnTo>
                    <a:pt x="132969" y="638276"/>
                  </a:lnTo>
                  <a:close/>
                </a:path>
                <a:path w="160020" h="771525">
                  <a:moveTo>
                    <a:pt x="132969" y="53200"/>
                  </a:moveTo>
                  <a:lnTo>
                    <a:pt x="106375" y="53200"/>
                  </a:lnTo>
                  <a:lnTo>
                    <a:pt x="79781" y="53200"/>
                  </a:lnTo>
                  <a:lnTo>
                    <a:pt x="53187" y="53200"/>
                  </a:lnTo>
                  <a:lnTo>
                    <a:pt x="53187" y="106387"/>
                  </a:lnTo>
                  <a:lnTo>
                    <a:pt x="53187" y="132981"/>
                  </a:lnTo>
                  <a:lnTo>
                    <a:pt x="79781" y="132981"/>
                  </a:lnTo>
                  <a:lnTo>
                    <a:pt x="106375" y="132981"/>
                  </a:lnTo>
                  <a:lnTo>
                    <a:pt x="132969" y="132981"/>
                  </a:lnTo>
                  <a:lnTo>
                    <a:pt x="132969" y="106387"/>
                  </a:lnTo>
                  <a:lnTo>
                    <a:pt x="132969" y="53200"/>
                  </a:lnTo>
                  <a:close/>
                </a:path>
                <a:path w="160020" h="771525">
                  <a:moveTo>
                    <a:pt x="159562" y="585089"/>
                  </a:moveTo>
                  <a:lnTo>
                    <a:pt x="159562" y="585089"/>
                  </a:lnTo>
                  <a:lnTo>
                    <a:pt x="0" y="585089"/>
                  </a:lnTo>
                  <a:lnTo>
                    <a:pt x="0" y="771258"/>
                  </a:lnTo>
                  <a:lnTo>
                    <a:pt x="26593" y="771258"/>
                  </a:lnTo>
                  <a:lnTo>
                    <a:pt x="53187" y="771245"/>
                  </a:lnTo>
                  <a:lnTo>
                    <a:pt x="79781" y="771245"/>
                  </a:lnTo>
                  <a:lnTo>
                    <a:pt x="106375" y="771245"/>
                  </a:lnTo>
                  <a:lnTo>
                    <a:pt x="132969" y="771245"/>
                  </a:lnTo>
                  <a:lnTo>
                    <a:pt x="159562" y="771245"/>
                  </a:lnTo>
                  <a:lnTo>
                    <a:pt x="159562" y="744651"/>
                  </a:lnTo>
                  <a:lnTo>
                    <a:pt x="26593" y="744651"/>
                  </a:lnTo>
                  <a:lnTo>
                    <a:pt x="26593" y="611682"/>
                  </a:lnTo>
                  <a:lnTo>
                    <a:pt x="159562" y="611682"/>
                  </a:lnTo>
                  <a:lnTo>
                    <a:pt x="159562" y="585089"/>
                  </a:lnTo>
                  <a:close/>
                </a:path>
                <a:path w="160020" h="771525">
                  <a:moveTo>
                    <a:pt x="159562" y="292544"/>
                  </a:moveTo>
                  <a:lnTo>
                    <a:pt x="132969" y="292544"/>
                  </a:lnTo>
                  <a:lnTo>
                    <a:pt x="132969" y="319138"/>
                  </a:lnTo>
                  <a:lnTo>
                    <a:pt x="106375" y="319138"/>
                  </a:lnTo>
                  <a:lnTo>
                    <a:pt x="106375" y="292544"/>
                  </a:lnTo>
                  <a:lnTo>
                    <a:pt x="132969" y="292544"/>
                  </a:lnTo>
                  <a:lnTo>
                    <a:pt x="132969" y="265950"/>
                  </a:lnTo>
                  <a:lnTo>
                    <a:pt x="106375" y="265950"/>
                  </a:lnTo>
                  <a:lnTo>
                    <a:pt x="79781" y="265950"/>
                  </a:lnTo>
                  <a:lnTo>
                    <a:pt x="53187" y="265950"/>
                  </a:lnTo>
                  <a:lnTo>
                    <a:pt x="53187" y="292544"/>
                  </a:lnTo>
                  <a:lnTo>
                    <a:pt x="26593" y="292544"/>
                  </a:lnTo>
                  <a:lnTo>
                    <a:pt x="26593" y="265950"/>
                  </a:lnTo>
                  <a:lnTo>
                    <a:pt x="0" y="265950"/>
                  </a:lnTo>
                  <a:lnTo>
                    <a:pt x="0" y="372325"/>
                  </a:lnTo>
                  <a:lnTo>
                    <a:pt x="26593" y="372325"/>
                  </a:lnTo>
                  <a:lnTo>
                    <a:pt x="26593" y="319138"/>
                  </a:lnTo>
                  <a:lnTo>
                    <a:pt x="53187" y="319138"/>
                  </a:lnTo>
                  <a:lnTo>
                    <a:pt x="53187" y="372325"/>
                  </a:lnTo>
                  <a:lnTo>
                    <a:pt x="79781" y="372325"/>
                  </a:lnTo>
                  <a:lnTo>
                    <a:pt x="79781" y="345732"/>
                  </a:lnTo>
                  <a:lnTo>
                    <a:pt x="106375" y="345732"/>
                  </a:lnTo>
                  <a:lnTo>
                    <a:pt x="106375" y="398932"/>
                  </a:lnTo>
                  <a:lnTo>
                    <a:pt x="132969" y="398932"/>
                  </a:lnTo>
                  <a:lnTo>
                    <a:pt x="132969" y="478713"/>
                  </a:lnTo>
                  <a:lnTo>
                    <a:pt x="106375" y="478713"/>
                  </a:lnTo>
                  <a:lnTo>
                    <a:pt x="106375" y="505307"/>
                  </a:lnTo>
                  <a:lnTo>
                    <a:pt x="79781" y="505307"/>
                  </a:lnTo>
                  <a:lnTo>
                    <a:pt x="79781" y="531901"/>
                  </a:lnTo>
                  <a:lnTo>
                    <a:pt x="106375" y="531901"/>
                  </a:lnTo>
                  <a:lnTo>
                    <a:pt x="132969" y="531901"/>
                  </a:lnTo>
                  <a:lnTo>
                    <a:pt x="132969" y="505294"/>
                  </a:lnTo>
                  <a:lnTo>
                    <a:pt x="159562" y="505294"/>
                  </a:lnTo>
                  <a:lnTo>
                    <a:pt x="159562" y="372325"/>
                  </a:lnTo>
                  <a:lnTo>
                    <a:pt x="132969" y="372325"/>
                  </a:lnTo>
                  <a:lnTo>
                    <a:pt x="132969" y="345732"/>
                  </a:lnTo>
                  <a:lnTo>
                    <a:pt x="159562" y="345732"/>
                  </a:lnTo>
                  <a:lnTo>
                    <a:pt x="159562" y="292544"/>
                  </a:lnTo>
                  <a:close/>
                </a:path>
                <a:path w="160020" h="771525">
                  <a:moveTo>
                    <a:pt x="159562" y="212763"/>
                  </a:moveTo>
                  <a:lnTo>
                    <a:pt x="132969" y="212763"/>
                  </a:lnTo>
                  <a:lnTo>
                    <a:pt x="106375" y="212763"/>
                  </a:lnTo>
                  <a:lnTo>
                    <a:pt x="79781" y="212763"/>
                  </a:lnTo>
                  <a:lnTo>
                    <a:pt x="53187" y="212763"/>
                  </a:lnTo>
                  <a:lnTo>
                    <a:pt x="53187" y="239356"/>
                  </a:lnTo>
                  <a:lnTo>
                    <a:pt x="79781" y="239356"/>
                  </a:lnTo>
                  <a:lnTo>
                    <a:pt x="106375" y="239356"/>
                  </a:lnTo>
                  <a:lnTo>
                    <a:pt x="132969" y="239356"/>
                  </a:lnTo>
                  <a:lnTo>
                    <a:pt x="132969" y="265950"/>
                  </a:lnTo>
                  <a:lnTo>
                    <a:pt x="159562" y="265950"/>
                  </a:lnTo>
                  <a:lnTo>
                    <a:pt x="159562" y="212763"/>
                  </a:lnTo>
                  <a:close/>
                </a:path>
                <a:path w="160020" h="771525">
                  <a:moveTo>
                    <a:pt x="159562" y="159575"/>
                  </a:moveTo>
                  <a:lnTo>
                    <a:pt x="159562" y="159575"/>
                  </a:lnTo>
                  <a:lnTo>
                    <a:pt x="26593" y="159575"/>
                  </a:lnTo>
                  <a:lnTo>
                    <a:pt x="26593" y="106387"/>
                  </a:lnTo>
                  <a:lnTo>
                    <a:pt x="26593" y="53200"/>
                  </a:lnTo>
                  <a:lnTo>
                    <a:pt x="0" y="53200"/>
                  </a:lnTo>
                  <a:lnTo>
                    <a:pt x="0" y="106387"/>
                  </a:lnTo>
                  <a:lnTo>
                    <a:pt x="0" y="186169"/>
                  </a:lnTo>
                  <a:lnTo>
                    <a:pt x="159562" y="186169"/>
                  </a:lnTo>
                  <a:lnTo>
                    <a:pt x="159562" y="159575"/>
                  </a:lnTo>
                  <a:close/>
                </a:path>
                <a:path w="160020" h="771525">
                  <a:moveTo>
                    <a:pt x="159562" y="0"/>
                  </a:moveTo>
                  <a:lnTo>
                    <a:pt x="159562" y="0"/>
                  </a:lnTo>
                  <a:lnTo>
                    <a:pt x="0" y="0"/>
                  </a:lnTo>
                  <a:lnTo>
                    <a:pt x="0" y="53187"/>
                  </a:lnTo>
                  <a:lnTo>
                    <a:pt x="26593" y="53187"/>
                  </a:lnTo>
                  <a:lnTo>
                    <a:pt x="26593" y="26593"/>
                  </a:lnTo>
                  <a:lnTo>
                    <a:pt x="53187" y="26593"/>
                  </a:lnTo>
                  <a:lnTo>
                    <a:pt x="79781" y="26593"/>
                  </a:lnTo>
                  <a:lnTo>
                    <a:pt x="106375" y="26593"/>
                  </a:lnTo>
                  <a:lnTo>
                    <a:pt x="132969" y="26593"/>
                  </a:lnTo>
                  <a:lnTo>
                    <a:pt x="159562" y="26593"/>
                  </a:lnTo>
                  <a:lnTo>
                    <a:pt x="159562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>
              <a:extLst>
                <a:ext uri="{FF2B5EF4-FFF2-40B4-BE49-F238E27FC236}">
                  <a16:creationId xmlns:a16="http://schemas.microsoft.com/office/drawing/2014/main" id="{1EB5AA89-3524-EC9B-3968-CBD7440BB372}"/>
                </a:ext>
              </a:extLst>
            </p:cNvPr>
            <p:cNvSpPr/>
            <p:nvPr/>
          </p:nvSpPr>
          <p:spPr>
            <a:xfrm>
              <a:off x="5247297" y="4533785"/>
              <a:ext cx="0" cy="558800"/>
            </a:xfrm>
            <a:custGeom>
              <a:avLst/>
              <a:gdLst/>
              <a:ahLst/>
              <a:cxnLst/>
              <a:rect l="l" t="t" r="r" b="b"/>
              <a:pathLst>
                <a:path h="558800">
                  <a:moveTo>
                    <a:pt x="0" y="0"/>
                  </a:moveTo>
                  <a:lnTo>
                    <a:pt x="0" y="558495"/>
                  </a:lnTo>
                </a:path>
              </a:pathLst>
            </a:custGeom>
            <a:ln w="26593">
              <a:solidFill>
                <a:srgbClr val="000000"/>
              </a:solidFill>
              <a:prstDash val="sysDot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>
              <a:extLst>
                <a:ext uri="{FF2B5EF4-FFF2-40B4-BE49-F238E27FC236}">
                  <a16:creationId xmlns:a16="http://schemas.microsoft.com/office/drawing/2014/main" id="{0BB03945-A5E8-519B-6E76-870CD6468CBA}"/>
                </a:ext>
              </a:extLst>
            </p:cNvPr>
            <p:cNvSpPr/>
            <p:nvPr/>
          </p:nvSpPr>
          <p:spPr>
            <a:xfrm>
              <a:off x="5234000" y="4533785"/>
              <a:ext cx="292735" cy="771525"/>
            </a:xfrm>
            <a:custGeom>
              <a:avLst/>
              <a:gdLst/>
              <a:ahLst/>
              <a:cxnLst/>
              <a:rect l="l" t="t" r="r" b="b"/>
              <a:pathLst>
                <a:path w="292735" h="771525">
                  <a:moveTo>
                    <a:pt x="26581" y="585089"/>
                  </a:moveTo>
                  <a:lnTo>
                    <a:pt x="0" y="585089"/>
                  </a:lnTo>
                  <a:lnTo>
                    <a:pt x="0" y="771258"/>
                  </a:lnTo>
                  <a:lnTo>
                    <a:pt x="26581" y="771258"/>
                  </a:lnTo>
                  <a:lnTo>
                    <a:pt x="26581" y="585089"/>
                  </a:lnTo>
                  <a:close/>
                </a:path>
                <a:path w="292735" h="771525">
                  <a:moveTo>
                    <a:pt x="53187" y="478713"/>
                  </a:moveTo>
                  <a:lnTo>
                    <a:pt x="26593" y="478713"/>
                  </a:lnTo>
                  <a:lnTo>
                    <a:pt x="26593" y="505307"/>
                  </a:lnTo>
                  <a:lnTo>
                    <a:pt x="53187" y="505307"/>
                  </a:lnTo>
                  <a:lnTo>
                    <a:pt x="53187" y="478713"/>
                  </a:lnTo>
                  <a:close/>
                </a:path>
                <a:path w="292735" h="771525">
                  <a:moveTo>
                    <a:pt x="53187" y="425513"/>
                  </a:moveTo>
                  <a:lnTo>
                    <a:pt x="26593" y="425513"/>
                  </a:lnTo>
                  <a:lnTo>
                    <a:pt x="26593" y="452107"/>
                  </a:lnTo>
                  <a:lnTo>
                    <a:pt x="53187" y="452107"/>
                  </a:lnTo>
                  <a:lnTo>
                    <a:pt x="53187" y="425513"/>
                  </a:lnTo>
                  <a:close/>
                </a:path>
                <a:path w="292735" h="771525">
                  <a:moveTo>
                    <a:pt x="53187" y="372325"/>
                  </a:moveTo>
                  <a:lnTo>
                    <a:pt x="26593" y="372325"/>
                  </a:lnTo>
                  <a:lnTo>
                    <a:pt x="26593" y="398919"/>
                  </a:lnTo>
                  <a:lnTo>
                    <a:pt x="53187" y="398919"/>
                  </a:lnTo>
                  <a:lnTo>
                    <a:pt x="53187" y="372325"/>
                  </a:lnTo>
                  <a:close/>
                </a:path>
                <a:path w="292735" h="771525">
                  <a:moveTo>
                    <a:pt x="53187" y="292544"/>
                  </a:moveTo>
                  <a:lnTo>
                    <a:pt x="26593" y="292544"/>
                  </a:lnTo>
                  <a:lnTo>
                    <a:pt x="26593" y="319138"/>
                  </a:lnTo>
                  <a:lnTo>
                    <a:pt x="53187" y="319138"/>
                  </a:lnTo>
                  <a:lnTo>
                    <a:pt x="53187" y="292544"/>
                  </a:lnTo>
                  <a:close/>
                </a:path>
                <a:path w="292735" h="771525">
                  <a:moveTo>
                    <a:pt x="53187" y="239356"/>
                  </a:moveTo>
                  <a:lnTo>
                    <a:pt x="26593" y="239356"/>
                  </a:lnTo>
                  <a:lnTo>
                    <a:pt x="26593" y="265950"/>
                  </a:lnTo>
                  <a:lnTo>
                    <a:pt x="53187" y="265950"/>
                  </a:lnTo>
                  <a:lnTo>
                    <a:pt x="53187" y="239356"/>
                  </a:lnTo>
                  <a:close/>
                </a:path>
                <a:path w="292735" h="771525">
                  <a:moveTo>
                    <a:pt x="79794" y="319138"/>
                  </a:moveTo>
                  <a:lnTo>
                    <a:pt x="53200" y="319138"/>
                  </a:lnTo>
                  <a:lnTo>
                    <a:pt x="53200" y="345732"/>
                  </a:lnTo>
                  <a:lnTo>
                    <a:pt x="79794" y="345732"/>
                  </a:lnTo>
                  <a:lnTo>
                    <a:pt x="79794" y="319138"/>
                  </a:lnTo>
                  <a:close/>
                </a:path>
                <a:path w="292735" h="771525">
                  <a:moveTo>
                    <a:pt x="79794" y="53200"/>
                  </a:moveTo>
                  <a:lnTo>
                    <a:pt x="53200" y="53200"/>
                  </a:lnTo>
                  <a:lnTo>
                    <a:pt x="53200" y="106387"/>
                  </a:lnTo>
                  <a:lnTo>
                    <a:pt x="53200" y="212763"/>
                  </a:lnTo>
                  <a:lnTo>
                    <a:pt x="79794" y="212763"/>
                  </a:lnTo>
                  <a:lnTo>
                    <a:pt x="79794" y="106387"/>
                  </a:lnTo>
                  <a:lnTo>
                    <a:pt x="79794" y="53200"/>
                  </a:lnTo>
                  <a:close/>
                </a:path>
                <a:path w="292735" h="771525">
                  <a:moveTo>
                    <a:pt x="106387" y="372325"/>
                  </a:moveTo>
                  <a:lnTo>
                    <a:pt x="79794" y="372325"/>
                  </a:lnTo>
                  <a:lnTo>
                    <a:pt x="53200" y="372325"/>
                  </a:lnTo>
                  <a:lnTo>
                    <a:pt x="53200" y="398919"/>
                  </a:lnTo>
                  <a:lnTo>
                    <a:pt x="79794" y="398919"/>
                  </a:lnTo>
                  <a:lnTo>
                    <a:pt x="106387" y="398919"/>
                  </a:lnTo>
                  <a:lnTo>
                    <a:pt x="106387" y="372325"/>
                  </a:lnTo>
                  <a:close/>
                </a:path>
                <a:path w="292735" h="771525">
                  <a:moveTo>
                    <a:pt x="132981" y="345732"/>
                  </a:moveTo>
                  <a:lnTo>
                    <a:pt x="106387" y="345732"/>
                  </a:lnTo>
                  <a:lnTo>
                    <a:pt x="106387" y="372325"/>
                  </a:lnTo>
                  <a:lnTo>
                    <a:pt x="132981" y="372325"/>
                  </a:lnTo>
                  <a:lnTo>
                    <a:pt x="132981" y="345732"/>
                  </a:lnTo>
                  <a:close/>
                </a:path>
                <a:path w="292735" h="771525">
                  <a:moveTo>
                    <a:pt x="132981" y="159575"/>
                  </a:moveTo>
                  <a:lnTo>
                    <a:pt x="106387" y="159575"/>
                  </a:lnTo>
                  <a:lnTo>
                    <a:pt x="106387" y="212763"/>
                  </a:lnTo>
                  <a:lnTo>
                    <a:pt x="79794" y="212763"/>
                  </a:lnTo>
                  <a:lnTo>
                    <a:pt x="79794" y="319138"/>
                  </a:lnTo>
                  <a:lnTo>
                    <a:pt x="106387" y="319138"/>
                  </a:lnTo>
                  <a:lnTo>
                    <a:pt x="106387" y="292544"/>
                  </a:lnTo>
                  <a:lnTo>
                    <a:pt x="132981" y="292544"/>
                  </a:lnTo>
                  <a:lnTo>
                    <a:pt x="132981" y="265950"/>
                  </a:lnTo>
                  <a:lnTo>
                    <a:pt x="106387" y="265950"/>
                  </a:lnTo>
                  <a:lnTo>
                    <a:pt x="106387" y="239369"/>
                  </a:lnTo>
                  <a:lnTo>
                    <a:pt x="132981" y="239369"/>
                  </a:lnTo>
                  <a:lnTo>
                    <a:pt x="132981" y="159575"/>
                  </a:lnTo>
                  <a:close/>
                </a:path>
                <a:path w="292735" h="771525">
                  <a:moveTo>
                    <a:pt x="159575" y="106387"/>
                  </a:moveTo>
                  <a:lnTo>
                    <a:pt x="132981" y="106387"/>
                  </a:lnTo>
                  <a:lnTo>
                    <a:pt x="132981" y="132981"/>
                  </a:lnTo>
                  <a:lnTo>
                    <a:pt x="159575" y="132981"/>
                  </a:lnTo>
                  <a:lnTo>
                    <a:pt x="159575" y="106387"/>
                  </a:lnTo>
                  <a:close/>
                </a:path>
                <a:path w="292735" h="771525">
                  <a:moveTo>
                    <a:pt x="186156" y="744651"/>
                  </a:moveTo>
                  <a:lnTo>
                    <a:pt x="159575" y="744651"/>
                  </a:lnTo>
                  <a:lnTo>
                    <a:pt x="159575" y="771245"/>
                  </a:lnTo>
                  <a:lnTo>
                    <a:pt x="186156" y="771245"/>
                  </a:lnTo>
                  <a:lnTo>
                    <a:pt x="186156" y="744651"/>
                  </a:lnTo>
                  <a:close/>
                </a:path>
                <a:path w="292735" h="771525">
                  <a:moveTo>
                    <a:pt x="186156" y="691464"/>
                  </a:moveTo>
                  <a:lnTo>
                    <a:pt x="159575" y="691464"/>
                  </a:lnTo>
                  <a:lnTo>
                    <a:pt x="132981" y="691464"/>
                  </a:lnTo>
                  <a:lnTo>
                    <a:pt x="132981" y="664870"/>
                  </a:lnTo>
                  <a:lnTo>
                    <a:pt x="106387" y="664870"/>
                  </a:lnTo>
                  <a:lnTo>
                    <a:pt x="106387" y="691464"/>
                  </a:lnTo>
                  <a:lnTo>
                    <a:pt x="79794" y="691464"/>
                  </a:lnTo>
                  <a:lnTo>
                    <a:pt x="79794" y="611682"/>
                  </a:lnTo>
                  <a:lnTo>
                    <a:pt x="53200" y="611682"/>
                  </a:lnTo>
                  <a:lnTo>
                    <a:pt x="53200" y="718070"/>
                  </a:lnTo>
                  <a:lnTo>
                    <a:pt x="79794" y="718070"/>
                  </a:lnTo>
                  <a:lnTo>
                    <a:pt x="79794" y="744651"/>
                  </a:lnTo>
                  <a:lnTo>
                    <a:pt x="53200" y="744651"/>
                  </a:lnTo>
                  <a:lnTo>
                    <a:pt x="53200" y="771245"/>
                  </a:lnTo>
                  <a:lnTo>
                    <a:pt x="79794" y="771245"/>
                  </a:lnTo>
                  <a:lnTo>
                    <a:pt x="106387" y="771245"/>
                  </a:lnTo>
                  <a:lnTo>
                    <a:pt x="132981" y="771245"/>
                  </a:lnTo>
                  <a:lnTo>
                    <a:pt x="132981" y="744651"/>
                  </a:lnTo>
                  <a:lnTo>
                    <a:pt x="159575" y="744651"/>
                  </a:lnTo>
                  <a:lnTo>
                    <a:pt x="159575" y="718058"/>
                  </a:lnTo>
                  <a:lnTo>
                    <a:pt x="186156" y="718058"/>
                  </a:lnTo>
                  <a:lnTo>
                    <a:pt x="186156" y="691464"/>
                  </a:lnTo>
                  <a:close/>
                </a:path>
                <a:path w="292735" h="771525">
                  <a:moveTo>
                    <a:pt x="186156" y="398919"/>
                  </a:moveTo>
                  <a:lnTo>
                    <a:pt x="159575" y="398919"/>
                  </a:lnTo>
                  <a:lnTo>
                    <a:pt x="132981" y="398919"/>
                  </a:lnTo>
                  <a:lnTo>
                    <a:pt x="106387" y="398919"/>
                  </a:lnTo>
                  <a:lnTo>
                    <a:pt x="106387" y="452120"/>
                  </a:lnTo>
                  <a:lnTo>
                    <a:pt x="79794" y="452120"/>
                  </a:lnTo>
                  <a:lnTo>
                    <a:pt x="79794" y="505307"/>
                  </a:lnTo>
                  <a:lnTo>
                    <a:pt x="106387" y="505307"/>
                  </a:lnTo>
                  <a:lnTo>
                    <a:pt x="106387" y="478701"/>
                  </a:lnTo>
                  <a:lnTo>
                    <a:pt x="132981" y="478701"/>
                  </a:lnTo>
                  <a:lnTo>
                    <a:pt x="132981" y="505307"/>
                  </a:lnTo>
                  <a:lnTo>
                    <a:pt x="106387" y="505307"/>
                  </a:lnTo>
                  <a:lnTo>
                    <a:pt x="106387" y="531901"/>
                  </a:lnTo>
                  <a:lnTo>
                    <a:pt x="79794" y="531901"/>
                  </a:lnTo>
                  <a:lnTo>
                    <a:pt x="79794" y="505307"/>
                  </a:lnTo>
                  <a:lnTo>
                    <a:pt x="53200" y="505307"/>
                  </a:lnTo>
                  <a:lnTo>
                    <a:pt x="53200" y="585089"/>
                  </a:lnTo>
                  <a:lnTo>
                    <a:pt x="79794" y="585089"/>
                  </a:lnTo>
                  <a:lnTo>
                    <a:pt x="79794" y="558495"/>
                  </a:lnTo>
                  <a:lnTo>
                    <a:pt x="106387" y="558495"/>
                  </a:lnTo>
                  <a:lnTo>
                    <a:pt x="132981" y="558495"/>
                  </a:lnTo>
                  <a:lnTo>
                    <a:pt x="132981" y="531914"/>
                  </a:lnTo>
                  <a:lnTo>
                    <a:pt x="159575" y="531914"/>
                  </a:lnTo>
                  <a:lnTo>
                    <a:pt x="159575" y="585089"/>
                  </a:lnTo>
                  <a:lnTo>
                    <a:pt x="132981" y="585089"/>
                  </a:lnTo>
                  <a:lnTo>
                    <a:pt x="106387" y="585089"/>
                  </a:lnTo>
                  <a:lnTo>
                    <a:pt x="79794" y="585089"/>
                  </a:lnTo>
                  <a:lnTo>
                    <a:pt x="79794" y="611682"/>
                  </a:lnTo>
                  <a:lnTo>
                    <a:pt x="106387" y="611682"/>
                  </a:lnTo>
                  <a:lnTo>
                    <a:pt x="132981" y="611682"/>
                  </a:lnTo>
                  <a:lnTo>
                    <a:pt x="159575" y="611682"/>
                  </a:lnTo>
                  <a:lnTo>
                    <a:pt x="159575" y="638276"/>
                  </a:lnTo>
                  <a:lnTo>
                    <a:pt x="186156" y="638276"/>
                  </a:lnTo>
                  <a:lnTo>
                    <a:pt x="186156" y="478713"/>
                  </a:lnTo>
                  <a:lnTo>
                    <a:pt x="159575" y="478713"/>
                  </a:lnTo>
                  <a:lnTo>
                    <a:pt x="159575" y="452120"/>
                  </a:lnTo>
                  <a:lnTo>
                    <a:pt x="132981" y="452120"/>
                  </a:lnTo>
                  <a:lnTo>
                    <a:pt x="132981" y="425513"/>
                  </a:lnTo>
                  <a:lnTo>
                    <a:pt x="159575" y="425513"/>
                  </a:lnTo>
                  <a:lnTo>
                    <a:pt x="159575" y="452107"/>
                  </a:lnTo>
                  <a:lnTo>
                    <a:pt x="186156" y="452107"/>
                  </a:lnTo>
                  <a:lnTo>
                    <a:pt x="186156" y="398919"/>
                  </a:lnTo>
                  <a:close/>
                </a:path>
                <a:path w="292735" h="771525">
                  <a:moveTo>
                    <a:pt x="186156" y="345732"/>
                  </a:moveTo>
                  <a:lnTo>
                    <a:pt x="159575" y="345732"/>
                  </a:lnTo>
                  <a:lnTo>
                    <a:pt x="159575" y="372325"/>
                  </a:lnTo>
                  <a:lnTo>
                    <a:pt x="186156" y="372325"/>
                  </a:lnTo>
                  <a:lnTo>
                    <a:pt x="186156" y="345732"/>
                  </a:lnTo>
                  <a:close/>
                </a:path>
                <a:path w="292735" h="771525">
                  <a:moveTo>
                    <a:pt x="186156" y="239356"/>
                  </a:moveTo>
                  <a:lnTo>
                    <a:pt x="159575" y="239356"/>
                  </a:lnTo>
                  <a:lnTo>
                    <a:pt x="159575" y="292544"/>
                  </a:lnTo>
                  <a:lnTo>
                    <a:pt x="132981" y="292544"/>
                  </a:lnTo>
                  <a:lnTo>
                    <a:pt x="132981" y="345732"/>
                  </a:lnTo>
                  <a:lnTo>
                    <a:pt x="159575" y="345732"/>
                  </a:lnTo>
                  <a:lnTo>
                    <a:pt x="159575" y="319138"/>
                  </a:lnTo>
                  <a:lnTo>
                    <a:pt x="186156" y="319138"/>
                  </a:lnTo>
                  <a:lnTo>
                    <a:pt x="186156" y="239356"/>
                  </a:lnTo>
                  <a:close/>
                </a:path>
                <a:path w="292735" h="771525">
                  <a:moveTo>
                    <a:pt x="186156" y="132981"/>
                  </a:moveTo>
                  <a:lnTo>
                    <a:pt x="159575" y="132981"/>
                  </a:lnTo>
                  <a:lnTo>
                    <a:pt x="159575" y="186169"/>
                  </a:lnTo>
                  <a:lnTo>
                    <a:pt x="186156" y="186169"/>
                  </a:lnTo>
                  <a:lnTo>
                    <a:pt x="186156" y="132981"/>
                  </a:lnTo>
                  <a:close/>
                </a:path>
                <a:path w="292735" h="771525">
                  <a:moveTo>
                    <a:pt x="186156" y="26606"/>
                  </a:moveTo>
                  <a:lnTo>
                    <a:pt x="159575" y="26606"/>
                  </a:lnTo>
                  <a:lnTo>
                    <a:pt x="132981" y="26606"/>
                  </a:lnTo>
                  <a:lnTo>
                    <a:pt x="132981" y="0"/>
                  </a:lnTo>
                  <a:lnTo>
                    <a:pt x="106387" y="0"/>
                  </a:lnTo>
                  <a:lnTo>
                    <a:pt x="106387" y="53187"/>
                  </a:lnTo>
                  <a:lnTo>
                    <a:pt x="132981" y="53187"/>
                  </a:lnTo>
                  <a:lnTo>
                    <a:pt x="106387" y="53200"/>
                  </a:lnTo>
                  <a:lnTo>
                    <a:pt x="106387" y="79794"/>
                  </a:lnTo>
                  <a:lnTo>
                    <a:pt x="132981" y="79794"/>
                  </a:lnTo>
                  <a:lnTo>
                    <a:pt x="159575" y="79794"/>
                  </a:lnTo>
                  <a:lnTo>
                    <a:pt x="186156" y="79794"/>
                  </a:lnTo>
                  <a:lnTo>
                    <a:pt x="186156" y="53200"/>
                  </a:lnTo>
                  <a:lnTo>
                    <a:pt x="186156" y="26606"/>
                  </a:lnTo>
                  <a:close/>
                </a:path>
                <a:path w="292735" h="771525">
                  <a:moveTo>
                    <a:pt x="212763" y="744651"/>
                  </a:moveTo>
                  <a:lnTo>
                    <a:pt x="186169" y="744651"/>
                  </a:lnTo>
                  <a:lnTo>
                    <a:pt x="186169" y="771245"/>
                  </a:lnTo>
                  <a:lnTo>
                    <a:pt x="212763" y="771245"/>
                  </a:lnTo>
                  <a:lnTo>
                    <a:pt x="212763" y="744651"/>
                  </a:lnTo>
                  <a:close/>
                </a:path>
                <a:path w="292735" h="771525">
                  <a:moveTo>
                    <a:pt x="212763" y="26606"/>
                  </a:moveTo>
                  <a:lnTo>
                    <a:pt x="186169" y="26606"/>
                  </a:lnTo>
                  <a:lnTo>
                    <a:pt x="186169" y="53200"/>
                  </a:lnTo>
                  <a:lnTo>
                    <a:pt x="212763" y="53200"/>
                  </a:lnTo>
                  <a:lnTo>
                    <a:pt x="212763" y="26606"/>
                  </a:lnTo>
                  <a:close/>
                </a:path>
                <a:path w="292735" h="771525">
                  <a:moveTo>
                    <a:pt x="239356" y="425513"/>
                  </a:moveTo>
                  <a:lnTo>
                    <a:pt x="212763" y="425513"/>
                  </a:lnTo>
                  <a:lnTo>
                    <a:pt x="186169" y="425513"/>
                  </a:lnTo>
                  <a:lnTo>
                    <a:pt x="186169" y="478701"/>
                  </a:lnTo>
                  <a:lnTo>
                    <a:pt x="212763" y="478701"/>
                  </a:lnTo>
                  <a:lnTo>
                    <a:pt x="212763" y="452107"/>
                  </a:lnTo>
                  <a:lnTo>
                    <a:pt x="239356" y="452107"/>
                  </a:lnTo>
                  <a:lnTo>
                    <a:pt x="239356" y="425513"/>
                  </a:lnTo>
                  <a:close/>
                </a:path>
                <a:path w="292735" h="771525">
                  <a:moveTo>
                    <a:pt x="239356" y="319138"/>
                  </a:moveTo>
                  <a:lnTo>
                    <a:pt x="212763" y="319138"/>
                  </a:lnTo>
                  <a:lnTo>
                    <a:pt x="186169" y="319138"/>
                  </a:lnTo>
                  <a:lnTo>
                    <a:pt x="186169" y="345732"/>
                  </a:lnTo>
                  <a:lnTo>
                    <a:pt x="212763" y="345732"/>
                  </a:lnTo>
                  <a:lnTo>
                    <a:pt x="212763" y="372325"/>
                  </a:lnTo>
                  <a:lnTo>
                    <a:pt x="239356" y="372325"/>
                  </a:lnTo>
                  <a:lnTo>
                    <a:pt x="239356" y="319138"/>
                  </a:lnTo>
                  <a:close/>
                </a:path>
                <a:path w="292735" h="771525">
                  <a:moveTo>
                    <a:pt x="239356" y="0"/>
                  </a:moveTo>
                  <a:lnTo>
                    <a:pt x="212763" y="0"/>
                  </a:lnTo>
                  <a:lnTo>
                    <a:pt x="212763" y="26593"/>
                  </a:lnTo>
                  <a:lnTo>
                    <a:pt x="239356" y="26593"/>
                  </a:lnTo>
                  <a:lnTo>
                    <a:pt x="239356" y="0"/>
                  </a:lnTo>
                  <a:close/>
                </a:path>
                <a:path w="292735" h="771525">
                  <a:moveTo>
                    <a:pt x="265950" y="691464"/>
                  </a:moveTo>
                  <a:lnTo>
                    <a:pt x="239356" y="691464"/>
                  </a:lnTo>
                  <a:lnTo>
                    <a:pt x="212763" y="691464"/>
                  </a:lnTo>
                  <a:lnTo>
                    <a:pt x="186169" y="691464"/>
                  </a:lnTo>
                  <a:lnTo>
                    <a:pt x="186169" y="718058"/>
                  </a:lnTo>
                  <a:lnTo>
                    <a:pt x="212763" y="718058"/>
                  </a:lnTo>
                  <a:lnTo>
                    <a:pt x="239356" y="718058"/>
                  </a:lnTo>
                  <a:lnTo>
                    <a:pt x="265950" y="718058"/>
                  </a:lnTo>
                  <a:lnTo>
                    <a:pt x="265950" y="691464"/>
                  </a:lnTo>
                  <a:close/>
                </a:path>
                <a:path w="292735" h="771525">
                  <a:moveTo>
                    <a:pt x="265950" y="638276"/>
                  </a:moveTo>
                  <a:lnTo>
                    <a:pt x="239356" y="638276"/>
                  </a:lnTo>
                  <a:lnTo>
                    <a:pt x="239356" y="664870"/>
                  </a:lnTo>
                  <a:lnTo>
                    <a:pt x="265950" y="664870"/>
                  </a:lnTo>
                  <a:lnTo>
                    <a:pt x="265950" y="638276"/>
                  </a:lnTo>
                  <a:close/>
                </a:path>
                <a:path w="292735" h="771525">
                  <a:moveTo>
                    <a:pt x="265950" y="585089"/>
                  </a:moveTo>
                  <a:lnTo>
                    <a:pt x="239356" y="585089"/>
                  </a:lnTo>
                  <a:lnTo>
                    <a:pt x="239356" y="611682"/>
                  </a:lnTo>
                  <a:lnTo>
                    <a:pt x="265950" y="611682"/>
                  </a:lnTo>
                  <a:lnTo>
                    <a:pt x="265950" y="585089"/>
                  </a:lnTo>
                  <a:close/>
                </a:path>
                <a:path w="292735" h="771525">
                  <a:moveTo>
                    <a:pt x="265950" y="478713"/>
                  </a:moveTo>
                  <a:lnTo>
                    <a:pt x="239356" y="478713"/>
                  </a:lnTo>
                  <a:lnTo>
                    <a:pt x="239356" y="531901"/>
                  </a:lnTo>
                  <a:lnTo>
                    <a:pt x="212763" y="531901"/>
                  </a:lnTo>
                  <a:lnTo>
                    <a:pt x="186169" y="531901"/>
                  </a:lnTo>
                  <a:lnTo>
                    <a:pt x="186169" y="558495"/>
                  </a:lnTo>
                  <a:lnTo>
                    <a:pt x="212763" y="558495"/>
                  </a:lnTo>
                  <a:lnTo>
                    <a:pt x="212763" y="585089"/>
                  </a:lnTo>
                  <a:lnTo>
                    <a:pt x="239356" y="585089"/>
                  </a:lnTo>
                  <a:lnTo>
                    <a:pt x="239356" y="558495"/>
                  </a:lnTo>
                  <a:lnTo>
                    <a:pt x="265950" y="558495"/>
                  </a:lnTo>
                  <a:lnTo>
                    <a:pt x="265950" y="478713"/>
                  </a:lnTo>
                  <a:close/>
                </a:path>
                <a:path w="292735" h="771525">
                  <a:moveTo>
                    <a:pt x="265950" y="372325"/>
                  </a:moveTo>
                  <a:lnTo>
                    <a:pt x="239356" y="372325"/>
                  </a:lnTo>
                  <a:lnTo>
                    <a:pt x="239356" y="425513"/>
                  </a:lnTo>
                  <a:lnTo>
                    <a:pt x="265950" y="425513"/>
                  </a:lnTo>
                  <a:lnTo>
                    <a:pt x="265950" y="372325"/>
                  </a:lnTo>
                  <a:close/>
                </a:path>
                <a:path w="292735" h="771525">
                  <a:moveTo>
                    <a:pt x="265950" y="265950"/>
                  </a:moveTo>
                  <a:lnTo>
                    <a:pt x="239356" y="265950"/>
                  </a:lnTo>
                  <a:lnTo>
                    <a:pt x="212763" y="265950"/>
                  </a:lnTo>
                  <a:lnTo>
                    <a:pt x="212763" y="212763"/>
                  </a:lnTo>
                  <a:lnTo>
                    <a:pt x="186169" y="212763"/>
                  </a:lnTo>
                  <a:lnTo>
                    <a:pt x="186169" y="292544"/>
                  </a:lnTo>
                  <a:lnTo>
                    <a:pt x="212763" y="292544"/>
                  </a:lnTo>
                  <a:lnTo>
                    <a:pt x="239356" y="292544"/>
                  </a:lnTo>
                  <a:lnTo>
                    <a:pt x="239356" y="319138"/>
                  </a:lnTo>
                  <a:lnTo>
                    <a:pt x="265950" y="319138"/>
                  </a:lnTo>
                  <a:lnTo>
                    <a:pt x="265950" y="265950"/>
                  </a:lnTo>
                  <a:close/>
                </a:path>
                <a:path w="292735" h="771525">
                  <a:moveTo>
                    <a:pt x="265950" y="132981"/>
                  </a:moveTo>
                  <a:lnTo>
                    <a:pt x="239356" y="132981"/>
                  </a:lnTo>
                  <a:lnTo>
                    <a:pt x="212763" y="132981"/>
                  </a:lnTo>
                  <a:lnTo>
                    <a:pt x="212763" y="212763"/>
                  </a:lnTo>
                  <a:lnTo>
                    <a:pt x="239356" y="212763"/>
                  </a:lnTo>
                  <a:lnTo>
                    <a:pt x="239356" y="159575"/>
                  </a:lnTo>
                  <a:lnTo>
                    <a:pt x="265950" y="159575"/>
                  </a:lnTo>
                  <a:lnTo>
                    <a:pt x="265950" y="132981"/>
                  </a:lnTo>
                  <a:close/>
                </a:path>
                <a:path w="292735" h="771525">
                  <a:moveTo>
                    <a:pt x="292544" y="0"/>
                  </a:moveTo>
                  <a:lnTo>
                    <a:pt x="265950" y="0"/>
                  </a:lnTo>
                  <a:lnTo>
                    <a:pt x="265950" y="26606"/>
                  </a:lnTo>
                  <a:lnTo>
                    <a:pt x="239356" y="26606"/>
                  </a:lnTo>
                  <a:lnTo>
                    <a:pt x="239356" y="53200"/>
                  </a:lnTo>
                  <a:lnTo>
                    <a:pt x="239356" y="79794"/>
                  </a:lnTo>
                  <a:lnTo>
                    <a:pt x="212763" y="79794"/>
                  </a:lnTo>
                  <a:lnTo>
                    <a:pt x="186169" y="79794"/>
                  </a:lnTo>
                  <a:lnTo>
                    <a:pt x="186169" y="106387"/>
                  </a:lnTo>
                  <a:lnTo>
                    <a:pt x="212763" y="106387"/>
                  </a:lnTo>
                  <a:lnTo>
                    <a:pt x="239356" y="106387"/>
                  </a:lnTo>
                  <a:lnTo>
                    <a:pt x="265950" y="106387"/>
                  </a:lnTo>
                  <a:lnTo>
                    <a:pt x="265950" y="53200"/>
                  </a:lnTo>
                  <a:lnTo>
                    <a:pt x="292544" y="53187"/>
                  </a:lnTo>
                  <a:lnTo>
                    <a:pt x="292544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>
              <a:extLst>
                <a:ext uri="{FF2B5EF4-FFF2-40B4-BE49-F238E27FC236}">
                  <a16:creationId xmlns:a16="http://schemas.microsoft.com/office/drawing/2014/main" id="{CD9BB495-2CC7-D0F3-8CEA-C0E247AF5971}"/>
                </a:ext>
              </a:extLst>
            </p:cNvPr>
            <p:cNvSpPr/>
            <p:nvPr/>
          </p:nvSpPr>
          <p:spPr>
            <a:xfrm>
              <a:off x="5499951" y="4533785"/>
              <a:ext cx="213360" cy="771525"/>
            </a:xfrm>
            <a:custGeom>
              <a:avLst/>
              <a:gdLst/>
              <a:ahLst/>
              <a:cxnLst/>
              <a:rect l="l" t="t" r="r" b="b"/>
              <a:pathLst>
                <a:path w="213360" h="771525">
                  <a:moveTo>
                    <a:pt x="26593" y="159575"/>
                  </a:moveTo>
                  <a:lnTo>
                    <a:pt x="0" y="159575"/>
                  </a:lnTo>
                  <a:lnTo>
                    <a:pt x="0" y="212763"/>
                  </a:lnTo>
                  <a:lnTo>
                    <a:pt x="26593" y="212763"/>
                  </a:lnTo>
                  <a:lnTo>
                    <a:pt x="26593" y="159575"/>
                  </a:lnTo>
                  <a:close/>
                </a:path>
                <a:path w="213360" h="771525">
                  <a:moveTo>
                    <a:pt x="26593" y="106387"/>
                  </a:moveTo>
                  <a:lnTo>
                    <a:pt x="0" y="106387"/>
                  </a:lnTo>
                  <a:lnTo>
                    <a:pt x="0" y="132981"/>
                  </a:lnTo>
                  <a:lnTo>
                    <a:pt x="26593" y="132981"/>
                  </a:lnTo>
                  <a:lnTo>
                    <a:pt x="26593" y="106387"/>
                  </a:lnTo>
                  <a:close/>
                </a:path>
                <a:path w="213360" h="771525">
                  <a:moveTo>
                    <a:pt x="53187" y="638276"/>
                  </a:moveTo>
                  <a:lnTo>
                    <a:pt x="26593" y="638276"/>
                  </a:lnTo>
                  <a:lnTo>
                    <a:pt x="0" y="638276"/>
                  </a:lnTo>
                  <a:lnTo>
                    <a:pt x="0" y="744651"/>
                  </a:lnTo>
                  <a:lnTo>
                    <a:pt x="26593" y="744651"/>
                  </a:lnTo>
                  <a:lnTo>
                    <a:pt x="26593" y="664870"/>
                  </a:lnTo>
                  <a:lnTo>
                    <a:pt x="53187" y="664870"/>
                  </a:lnTo>
                  <a:lnTo>
                    <a:pt x="53187" y="638276"/>
                  </a:lnTo>
                  <a:close/>
                </a:path>
                <a:path w="213360" h="771525">
                  <a:moveTo>
                    <a:pt x="53187" y="372325"/>
                  </a:moveTo>
                  <a:lnTo>
                    <a:pt x="26593" y="372325"/>
                  </a:lnTo>
                  <a:lnTo>
                    <a:pt x="26593" y="345732"/>
                  </a:lnTo>
                  <a:lnTo>
                    <a:pt x="0" y="345732"/>
                  </a:lnTo>
                  <a:lnTo>
                    <a:pt x="0" y="425513"/>
                  </a:lnTo>
                  <a:lnTo>
                    <a:pt x="26593" y="425513"/>
                  </a:lnTo>
                  <a:lnTo>
                    <a:pt x="26593" y="398919"/>
                  </a:lnTo>
                  <a:lnTo>
                    <a:pt x="53187" y="398919"/>
                  </a:lnTo>
                  <a:lnTo>
                    <a:pt x="53187" y="372325"/>
                  </a:lnTo>
                  <a:close/>
                </a:path>
                <a:path w="213360" h="771525">
                  <a:moveTo>
                    <a:pt x="53187" y="319138"/>
                  </a:moveTo>
                  <a:lnTo>
                    <a:pt x="26593" y="319138"/>
                  </a:lnTo>
                  <a:lnTo>
                    <a:pt x="26593" y="345732"/>
                  </a:lnTo>
                  <a:lnTo>
                    <a:pt x="53187" y="345732"/>
                  </a:lnTo>
                  <a:lnTo>
                    <a:pt x="53187" y="319138"/>
                  </a:lnTo>
                  <a:close/>
                </a:path>
                <a:path w="213360" h="771525">
                  <a:moveTo>
                    <a:pt x="53187" y="212763"/>
                  </a:moveTo>
                  <a:lnTo>
                    <a:pt x="26593" y="212763"/>
                  </a:lnTo>
                  <a:lnTo>
                    <a:pt x="26593" y="239356"/>
                  </a:lnTo>
                  <a:lnTo>
                    <a:pt x="53187" y="239356"/>
                  </a:lnTo>
                  <a:lnTo>
                    <a:pt x="53187" y="212763"/>
                  </a:lnTo>
                  <a:close/>
                </a:path>
                <a:path w="213360" h="771525">
                  <a:moveTo>
                    <a:pt x="53187" y="79794"/>
                  </a:moveTo>
                  <a:lnTo>
                    <a:pt x="26593" y="79794"/>
                  </a:lnTo>
                  <a:lnTo>
                    <a:pt x="26593" y="106387"/>
                  </a:lnTo>
                  <a:lnTo>
                    <a:pt x="53187" y="106387"/>
                  </a:lnTo>
                  <a:lnTo>
                    <a:pt x="53187" y="79794"/>
                  </a:lnTo>
                  <a:close/>
                </a:path>
                <a:path w="213360" h="771525">
                  <a:moveTo>
                    <a:pt x="79781" y="664870"/>
                  </a:moveTo>
                  <a:lnTo>
                    <a:pt x="53187" y="664870"/>
                  </a:lnTo>
                  <a:lnTo>
                    <a:pt x="53187" y="691464"/>
                  </a:lnTo>
                  <a:lnTo>
                    <a:pt x="79781" y="691464"/>
                  </a:lnTo>
                  <a:lnTo>
                    <a:pt x="79781" y="664870"/>
                  </a:lnTo>
                  <a:close/>
                </a:path>
                <a:path w="213360" h="771525">
                  <a:moveTo>
                    <a:pt x="79781" y="265950"/>
                  </a:moveTo>
                  <a:lnTo>
                    <a:pt x="53187" y="265950"/>
                  </a:lnTo>
                  <a:lnTo>
                    <a:pt x="26593" y="265950"/>
                  </a:lnTo>
                  <a:lnTo>
                    <a:pt x="26593" y="239356"/>
                  </a:lnTo>
                  <a:lnTo>
                    <a:pt x="0" y="239356"/>
                  </a:lnTo>
                  <a:lnTo>
                    <a:pt x="0" y="292544"/>
                  </a:lnTo>
                  <a:lnTo>
                    <a:pt x="26593" y="292544"/>
                  </a:lnTo>
                  <a:lnTo>
                    <a:pt x="53187" y="292544"/>
                  </a:lnTo>
                  <a:lnTo>
                    <a:pt x="53187" y="319138"/>
                  </a:lnTo>
                  <a:lnTo>
                    <a:pt x="79781" y="319138"/>
                  </a:lnTo>
                  <a:lnTo>
                    <a:pt x="79781" y="265950"/>
                  </a:lnTo>
                  <a:close/>
                </a:path>
                <a:path w="213360" h="771525">
                  <a:moveTo>
                    <a:pt x="79781" y="159575"/>
                  </a:moveTo>
                  <a:lnTo>
                    <a:pt x="53187" y="159575"/>
                  </a:lnTo>
                  <a:lnTo>
                    <a:pt x="53187" y="186169"/>
                  </a:lnTo>
                  <a:lnTo>
                    <a:pt x="79781" y="186169"/>
                  </a:lnTo>
                  <a:lnTo>
                    <a:pt x="79781" y="159575"/>
                  </a:lnTo>
                  <a:close/>
                </a:path>
                <a:path w="213360" h="771525">
                  <a:moveTo>
                    <a:pt x="79781" y="26606"/>
                  </a:moveTo>
                  <a:lnTo>
                    <a:pt x="53187" y="26606"/>
                  </a:lnTo>
                  <a:lnTo>
                    <a:pt x="26593" y="26606"/>
                  </a:lnTo>
                  <a:lnTo>
                    <a:pt x="26593" y="0"/>
                  </a:lnTo>
                  <a:lnTo>
                    <a:pt x="0" y="0"/>
                  </a:lnTo>
                  <a:lnTo>
                    <a:pt x="0" y="53187"/>
                  </a:lnTo>
                  <a:lnTo>
                    <a:pt x="26593" y="53187"/>
                  </a:lnTo>
                  <a:lnTo>
                    <a:pt x="53187" y="53200"/>
                  </a:lnTo>
                  <a:lnTo>
                    <a:pt x="79781" y="53200"/>
                  </a:lnTo>
                  <a:lnTo>
                    <a:pt x="79781" y="26606"/>
                  </a:lnTo>
                  <a:close/>
                </a:path>
                <a:path w="213360" h="771525">
                  <a:moveTo>
                    <a:pt x="106375" y="744651"/>
                  </a:moveTo>
                  <a:lnTo>
                    <a:pt x="79781" y="744651"/>
                  </a:lnTo>
                  <a:lnTo>
                    <a:pt x="53187" y="744651"/>
                  </a:lnTo>
                  <a:lnTo>
                    <a:pt x="26593" y="744651"/>
                  </a:lnTo>
                  <a:lnTo>
                    <a:pt x="26593" y="771245"/>
                  </a:lnTo>
                  <a:lnTo>
                    <a:pt x="53187" y="771245"/>
                  </a:lnTo>
                  <a:lnTo>
                    <a:pt x="79781" y="771245"/>
                  </a:lnTo>
                  <a:lnTo>
                    <a:pt x="106375" y="771245"/>
                  </a:lnTo>
                  <a:lnTo>
                    <a:pt x="106375" y="744651"/>
                  </a:lnTo>
                  <a:close/>
                </a:path>
                <a:path w="213360" h="771525">
                  <a:moveTo>
                    <a:pt x="106375" y="691464"/>
                  </a:moveTo>
                  <a:lnTo>
                    <a:pt x="79781" y="691464"/>
                  </a:lnTo>
                  <a:lnTo>
                    <a:pt x="79781" y="718058"/>
                  </a:lnTo>
                  <a:lnTo>
                    <a:pt x="106375" y="718058"/>
                  </a:lnTo>
                  <a:lnTo>
                    <a:pt x="106375" y="691464"/>
                  </a:lnTo>
                  <a:close/>
                </a:path>
                <a:path w="213360" h="771525">
                  <a:moveTo>
                    <a:pt x="132969" y="718058"/>
                  </a:moveTo>
                  <a:lnTo>
                    <a:pt x="106375" y="718058"/>
                  </a:lnTo>
                  <a:lnTo>
                    <a:pt x="106375" y="744651"/>
                  </a:lnTo>
                  <a:lnTo>
                    <a:pt x="132969" y="744651"/>
                  </a:lnTo>
                  <a:lnTo>
                    <a:pt x="132969" y="718058"/>
                  </a:lnTo>
                  <a:close/>
                </a:path>
                <a:path w="213360" h="771525">
                  <a:moveTo>
                    <a:pt x="132969" y="292544"/>
                  </a:moveTo>
                  <a:lnTo>
                    <a:pt x="106375" y="292544"/>
                  </a:lnTo>
                  <a:lnTo>
                    <a:pt x="106375" y="319138"/>
                  </a:lnTo>
                  <a:lnTo>
                    <a:pt x="132969" y="319138"/>
                  </a:lnTo>
                  <a:lnTo>
                    <a:pt x="132969" y="292544"/>
                  </a:lnTo>
                  <a:close/>
                </a:path>
                <a:path w="213360" h="771525">
                  <a:moveTo>
                    <a:pt x="132969" y="132981"/>
                  </a:moveTo>
                  <a:lnTo>
                    <a:pt x="106375" y="132981"/>
                  </a:lnTo>
                  <a:lnTo>
                    <a:pt x="106375" y="212763"/>
                  </a:lnTo>
                  <a:lnTo>
                    <a:pt x="132969" y="212763"/>
                  </a:lnTo>
                  <a:lnTo>
                    <a:pt x="132969" y="132981"/>
                  </a:lnTo>
                  <a:close/>
                </a:path>
                <a:path w="213360" h="771525">
                  <a:moveTo>
                    <a:pt x="132969" y="53200"/>
                  </a:moveTo>
                  <a:lnTo>
                    <a:pt x="106375" y="53200"/>
                  </a:lnTo>
                  <a:lnTo>
                    <a:pt x="79781" y="53200"/>
                  </a:lnTo>
                  <a:lnTo>
                    <a:pt x="79781" y="106387"/>
                  </a:lnTo>
                  <a:lnTo>
                    <a:pt x="53187" y="106387"/>
                  </a:lnTo>
                  <a:lnTo>
                    <a:pt x="53187" y="132981"/>
                  </a:lnTo>
                  <a:lnTo>
                    <a:pt x="79781" y="132981"/>
                  </a:lnTo>
                  <a:lnTo>
                    <a:pt x="106375" y="132981"/>
                  </a:lnTo>
                  <a:lnTo>
                    <a:pt x="106375" y="106387"/>
                  </a:lnTo>
                  <a:lnTo>
                    <a:pt x="106375" y="79794"/>
                  </a:lnTo>
                  <a:lnTo>
                    <a:pt x="132969" y="79794"/>
                  </a:lnTo>
                  <a:lnTo>
                    <a:pt x="132969" y="53200"/>
                  </a:lnTo>
                  <a:close/>
                </a:path>
                <a:path w="213360" h="771525">
                  <a:moveTo>
                    <a:pt x="132969" y="0"/>
                  </a:moveTo>
                  <a:lnTo>
                    <a:pt x="106375" y="0"/>
                  </a:lnTo>
                  <a:lnTo>
                    <a:pt x="79781" y="0"/>
                  </a:lnTo>
                  <a:lnTo>
                    <a:pt x="79781" y="26593"/>
                  </a:lnTo>
                  <a:lnTo>
                    <a:pt x="106375" y="26593"/>
                  </a:lnTo>
                  <a:lnTo>
                    <a:pt x="106375" y="53187"/>
                  </a:lnTo>
                  <a:lnTo>
                    <a:pt x="132969" y="53187"/>
                  </a:lnTo>
                  <a:lnTo>
                    <a:pt x="132969" y="0"/>
                  </a:lnTo>
                  <a:close/>
                </a:path>
                <a:path w="213360" h="771525">
                  <a:moveTo>
                    <a:pt x="186143" y="585089"/>
                  </a:moveTo>
                  <a:lnTo>
                    <a:pt x="159562" y="585089"/>
                  </a:lnTo>
                  <a:lnTo>
                    <a:pt x="159562" y="611682"/>
                  </a:lnTo>
                  <a:lnTo>
                    <a:pt x="186143" y="611682"/>
                  </a:lnTo>
                  <a:lnTo>
                    <a:pt x="186143" y="585089"/>
                  </a:lnTo>
                  <a:close/>
                </a:path>
                <a:path w="213360" h="771525">
                  <a:moveTo>
                    <a:pt x="186143" y="505307"/>
                  </a:moveTo>
                  <a:lnTo>
                    <a:pt x="159562" y="505307"/>
                  </a:lnTo>
                  <a:lnTo>
                    <a:pt x="159562" y="478713"/>
                  </a:lnTo>
                  <a:lnTo>
                    <a:pt x="132969" y="478713"/>
                  </a:lnTo>
                  <a:lnTo>
                    <a:pt x="106375" y="478713"/>
                  </a:lnTo>
                  <a:lnTo>
                    <a:pt x="106375" y="585089"/>
                  </a:lnTo>
                  <a:lnTo>
                    <a:pt x="79781" y="585089"/>
                  </a:lnTo>
                  <a:lnTo>
                    <a:pt x="79781" y="558495"/>
                  </a:lnTo>
                  <a:lnTo>
                    <a:pt x="53187" y="558495"/>
                  </a:lnTo>
                  <a:lnTo>
                    <a:pt x="53187" y="585089"/>
                  </a:lnTo>
                  <a:lnTo>
                    <a:pt x="26593" y="585089"/>
                  </a:lnTo>
                  <a:lnTo>
                    <a:pt x="26593" y="558495"/>
                  </a:lnTo>
                  <a:lnTo>
                    <a:pt x="0" y="558495"/>
                  </a:lnTo>
                  <a:lnTo>
                    <a:pt x="0" y="611682"/>
                  </a:lnTo>
                  <a:lnTo>
                    <a:pt x="26593" y="611682"/>
                  </a:lnTo>
                  <a:lnTo>
                    <a:pt x="53187" y="611682"/>
                  </a:lnTo>
                  <a:lnTo>
                    <a:pt x="79781" y="611682"/>
                  </a:lnTo>
                  <a:lnTo>
                    <a:pt x="79781" y="638276"/>
                  </a:lnTo>
                  <a:lnTo>
                    <a:pt x="106375" y="638276"/>
                  </a:lnTo>
                  <a:lnTo>
                    <a:pt x="106375" y="664870"/>
                  </a:lnTo>
                  <a:lnTo>
                    <a:pt x="132969" y="664870"/>
                  </a:lnTo>
                  <a:lnTo>
                    <a:pt x="132969" y="718058"/>
                  </a:lnTo>
                  <a:lnTo>
                    <a:pt x="159562" y="718058"/>
                  </a:lnTo>
                  <a:lnTo>
                    <a:pt x="159562" y="744651"/>
                  </a:lnTo>
                  <a:lnTo>
                    <a:pt x="132969" y="744651"/>
                  </a:lnTo>
                  <a:lnTo>
                    <a:pt x="132969" y="771245"/>
                  </a:lnTo>
                  <a:lnTo>
                    <a:pt x="159562" y="771245"/>
                  </a:lnTo>
                  <a:lnTo>
                    <a:pt x="186143" y="771245"/>
                  </a:lnTo>
                  <a:lnTo>
                    <a:pt x="186143" y="691464"/>
                  </a:lnTo>
                  <a:lnTo>
                    <a:pt x="159562" y="691464"/>
                  </a:lnTo>
                  <a:lnTo>
                    <a:pt x="159562" y="664870"/>
                  </a:lnTo>
                  <a:lnTo>
                    <a:pt x="186143" y="664870"/>
                  </a:lnTo>
                  <a:lnTo>
                    <a:pt x="186143" y="638276"/>
                  </a:lnTo>
                  <a:lnTo>
                    <a:pt x="159562" y="638276"/>
                  </a:lnTo>
                  <a:lnTo>
                    <a:pt x="132969" y="638276"/>
                  </a:lnTo>
                  <a:lnTo>
                    <a:pt x="132969" y="558495"/>
                  </a:lnTo>
                  <a:lnTo>
                    <a:pt x="159562" y="558495"/>
                  </a:lnTo>
                  <a:lnTo>
                    <a:pt x="186143" y="558495"/>
                  </a:lnTo>
                  <a:lnTo>
                    <a:pt x="186143" y="505307"/>
                  </a:lnTo>
                  <a:close/>
                </a:path>
                <a:path w="213360" h="771525">
                  <a:moveTo>
                    <a:pt x="186143" y="452120"/>
                  </a:moveTo>
                  <a:lnTo>
                    <a:pt x="159562" y="452120"/>
                  </a:lnTo>
                  <a:lnTo>
                    <a:pt x="159562" y="478713"/>
                  </a:lnTo>
                  <a:lnTo>
                    <a:pt x="186143" y="478713"/>
                  </a:lnTo>
                  <a:lnTo>
                    <a:pt x="186143" y="452120"/>
                  </a:lnTo>
                  <a:close/>
                </a:path>
                <a:path w="213360" h="771525">
                  <a:moveTo>
                    <a:pt x="186143" y="345732"/>
                  </a:moveTo>
                  <a:lnTo>
                    <a:pt x="159562" y="345732"/>
                  </a:lnTo>
                  <a:lnTo>
                    <a:pt x="132969" y="345732"/>
                  </a:lnTo>
                  <a:lnTo>
                    <a:pt x="106375" y="345732"/>
                  </a:lnTo>
                  <a:lnTo>
                    <a:pt x="79781" y="345732"/>
                  </a:lnTo>
                  <a:lnTo>
                    <a:pt x="79781" y="372325"/>
                  </a:lnTo>
                  <a:lnTo>
                    <a:pt x="106375" y="372325"/>
                  </a:lnTo>
                  <a:lnTo>
                    <a:pt x="106375" y="398919"/>
                  </a:lnTo>
                  <a:lnTo>
                    <a:pt x="79781" y="398919"/>
                  </a:lnTo>
                  <a:lnTo>
                    <a:pt x="53187" y="398919"/>
                  </a:lnTo>
                  <a:lnTo>
                    <a:pt x="53187" y="425513"/>
                  </a:lnTo>
                  <a:lnTo>
                    <a:pt x="79781" y="425513"/>
                  </a:lnTo>
                  <a:lnTo>
                    <a:pt x="79781" y="452120"/>
                  </a:lnTo>
                  <a:lnTo>
                    <a:pt x="53187" y="452120"/>
                  </a:lnTo>
                  <a:lnTo>
                    <a:pt x="53187" y="425513"/>
                  </a:lnTo>
                  <a:lnTo>
                    <a:pt x="26593" y="425513"/>
                  </a:lnTo>
                  <a:lnTo>
                    <a:pt x="26593" y="452120"/>
                  </a:lnTo>
                  <a:lnTo>
                    <a:pt x="0" y="452120"/>
                  </a:lnTo>
                  <a:lnTo>
                    <a:pt x="0" y="531914"/>
                  </a:lnTo>
                  <a:lnTo>
                    <a:pt x="26593" y="531914"/>
                  </a:lnTo>
                  <a:lnTo>
                    <a:pt x="26593" y="558495"/>
                  </a:lnTo>
                  <a:lnTo>
                    <a:pt x="53187" y="558495"/>
                  </a:lnTo>
                  <a:lnTo>
                    <a:pt x="53187" y="531901"/>
                  </a:lnTo>
                  <a:lnTo>
                    <a:pt x="26593" y="531901"/>
                  </a:lnTo>
                  <a:lnTo>
                    <a:pt x="26593" y="478701"/>
                  </a:lnTo>
                  <a:lnTo>
                    <a:pt x="53187" y="478701"/>
                  </a:lnTo>
                  <a:lnTo>
                    <a:pt x="53187" y="505307"/>
                  </a:lnTo>
                  <a:lnTo>
                    <a:pt x="79781" y="505307"/>
                  </a:lnTo>
                  <a:lnTo>
                    <a:pt x="79781" y="478701"/>
                  </a:lnTo>
                  <a:lnTo>
                    <a:pt x="106375" y="478701"/>
                  </a:lnTo>
                  <a:lnTo>
                    <a:pt x="106375" y="425513"/>
                  </a:lnTo>
                  <a:lnTo>
                    <a:pt x="132969" y="425513"/>
                  </a:lnTo>
                  <a:lnTo>
                    <a:pt x="132969" y="372325"/>
                  </a:lnTo>
                  <a:lnTo>
                    <a:pt x="159562" y="372325"/>
                  </a:lnTo>
                  <a:lnTo>
                    <a:pt x="186143" y="372325"/>
                  </a:lnTo>
                  <a:lnTo>
                    <a:pt x="186143" y="345732"/>
                  </a:lnTo>
                  <a:close/>
                </a:path>
                <a:path w="213360" h="771525">
                  <a:moveTo>
                    <a:pt x="186143" y="212763"/>
                  </a:moveTo>
                  <a:lnTo>
                    <a:pt x="159562" y="212763"/>
                  </a:lnTo>
                  <a:lnTo>
                    <a:pt x="159562" y="239356"/>
                  </a:lnTo>
                  <a:lnTo>
                    <a:pt x="132969" y="239356"/>
                  </a:lnTo>
                  <a:lnTo>
                    <a:pt x="106375" y="239356"/>
                  </a:lnTo>
                  <a:lnTo>
                    <a:pt x="79781" y="239356"/>
                  </a:lnTo>
                  <a:lnTo>
                    <a:pt x="79781" y="265950"/>
                  </a:lnTo>
                  <a:lnTo>
                    <a:pt x="106375" y="265950"/>
                  </a:lnTo>
                  <a:lnTo>
                    <a:pt x="132969" y="265950"/>
                  </a:lnTo>
                  <a:lnTo>
                    <a:pt x="159562" y="265950"/>
                  </a:lnTo>
                  <a:lnTo>
                    <a:pt x="159562" y="292544"/>
                  </a:lnTo>
                  <a:lnTo>
                    <a:pt x="186143" y="292544"/>
                  </a:lnTo>
                  <a:lnTo>
                    <a:pt x="186143" y="212763"/>
                  </a:lnTo>
                  <a:close/>
                </a:path>
                <a:path w="213360" h="771525">
                  <a:moveTo>
                    <a:pt x="186143" y="53200"/>
                  </a:moveTo>
                  <a:lnTo>
                    <a:pt x="159562" y="53200"/>
                  </a:lnTo>
                  <a:lnTo>
                    <a:pt x="159562" y="106387"/>
                  </a:lnTo>
                  <a:lnTo>
                    <a:pt x="159562" y="186169"/>
                  </a:lnTo>
                  <a:lnTo>
                    <a:pt x="186143" y="186169"/>
                  </a:lnTo>
                  <a:lnTo>
                    <a:pt x="186143" y="106387"/>
                  </a:lnTo>
                  <a:lnTo>
                    <a:pt x="186143" y="53200"/>
                  </a:lnTo>
                  <a:close/>
                </a:path>
                <a:path w="213360" h="771525">
                  <a:moveTo>
                    <a:pt x="186143" y="0"/>
                  </a:moveTo>
                  <a:lnTo>
                    <a:pt x="159562" y="0"/>
                  </a:lnTo>
                  <a:lnTo>
                    <a:pt x="159562" y="53187"/>
                  </a:lnTo>
                  <a:lnTo>
                    <a:pt x="186143" y="53187"/>
                  </a:lnTo>
                  <a:lnTo>
                    <a:pt x="186143" y="0"/>
                  </a:lnTo>
                  <a:close/>
                </a:path>
                <a:path w="213360" h="771525">
                  <a:moveTo>
                    <a:pt x="212750" y="0"/>
                  </a:moveTo>
                  <a:lnTo>
                    <a:pt x="186156" y="0"/>
                  </a:lnTo>
                  <a:lnTo>
                    <a:pt x="186156" y="26593"/>
                  </a:lnTo>
                  <a:lnTo>
                    <a:pt x="212750" y="26593"/>
                  </a:lnTo>
                  <a:lnTo>
                    <a:pt x="21275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>
              <a:extLst>
                <a:ext uri="{FF2B5EF4-FFF2-40B4-BE49-F238E27FC236}">
                  <a16:creationId xmlns:a16="http://schemas.microsoft.com/office/drawing/2014/main" id="{732CC9CA-FEBE-0903-7F30-FCE1227BCEC4}"/>
                </a:ext>
              </a:extLst>
            </p:cNvPr>
            <p:cNvSpPr/>
            <p:nvPr/>
          </p:nvSpPr>
          <p:spPr>
            <a:xfrm>
              <a:off x="5699404" y="4693361"/>
              <a:ext cx="0" cy="399415"/>
            </a:xfrm>
            <a:custGeom>
              <a:avLst/>
              <a:gdLst/>
              <a:ahLst/>
              <a:cxnLst/>
              <a:rect l="l" t="t" r="r" b="b"/>
              <a:pathLst>
                <a:path h="399414">
                  <a:moveTo>
                    <a:pt x="0" y="0"/>
                  </a:moveTo>
                  <a:lnTo>
                    <a:pt x="0" y="398919"/>
                  </a:lnTo>
                </a:path>
              </a:pathLst>
            </a:custGeom>
            <a:ln w="26593">
              <a:solidFill>
                <a:srgbClr val="000000"/>
              </a:solidFill>
              <a:prstDash val="sysDot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>
              <a:extLst>
                <a:ext uri="{FF2B5EF4-FFF2-40B4-BE49-F238E27FC236}">
                  <a16:creationId xmlns:a16="http://schemas.microsoft.com/office/drawing/2014/main" id="{765377CA-66EC-0653-CD07-DD50E01D16B6}"/>
                </a:ext>
              </a:extLst>
            </p:cNvPr>
            <p:cNvSpPr/>
            <p:nvPr/>
          </p:nvSpPr>
          <p:spPr>
            <a:xfrm>
              <a:off x="5686107" y="4533785"/>
              <a:ext cx="106680" cy="771525"/>
            </a:xfrm>
            <a:custGeom>
              <a:avLst/>
              <a:gdLst/>
              <a:ahLst/>
              <a:cxnLst/>
              <a:rect l="l" t="t" r="r" b="b"/>
              <a:pathLst>
                <a:path w="106679" h="771525">
                  <a:moveTo>
                    <a:pt x="26593" y="744651"/>
                  </a:moveTo>
                  <a:lnTo>
                    <a:pt x="0" y="744651"/>
                  </a:lnTo>
                  <a:lnTo>
                    <a:pt x="0" y="771245"/>
                  </a:lnTo>
                  <a:lnTo>
                    <a:pt x="26593" y="771245"/>
                  </a:lnTo>
                  <a:lnTo>
                    <a:pt x="26593" y="744651"/>
                  </a:lnTo>
                  <a:close/>
                </a:path>
                <a:path w="106679" h="771525">
                  <a:moveTo>
                    <a:pt x="26593" y="691464"/>
                  </a:moveTo>
                  <a:lnTo>
                    <a:pt x="0" y="691464"/>
                  </a:lnTo>
                  <a:lnTo>
                    <a:pt x="0" y="718058"/>
                  </a:lnTo>
                  <a:lnTo>
                    <a:pt x="26593" y="718058"/>
                  </a:lnTo>
                  <a:lnTo>
                    <a:pt x="26593" y="691464"/>
                  </a:lnTo>
                  <a:close/>
                </a:path>
                <a:path w="106679" h="771525">
                  <a:moveTo>
                    <a:pt x="26593" y="638276"/>
                  </a:moveTo>
                  <a:lnTo>
                    <a:pt x="0" y="638276"/>
                  </a:lnTo>
                  <a:lnTo>
                    <a:pt x="0" y="664870"/>
                  </a:lnTo>
                  <a:lnTo>
                    <a:pt x="26593" y="664870"/>
                  </a:lnTo>
                  <a:lnTo>
                    <a:pt x="26593" y="638276"/>
                  </a:lnTo>
                  <a:close/>
                </a:path>
                <a:path w="106679" h="771525">
                  <a:moveTo>
                    <a:pt x="79794" y="558495"/>
                  </a:moveTo>
                  <a:lnTo>
                    <a:pt x="53200" y="558495"/>
                  </a:lnTo>
                  <a:lnTo>
                    <a:pt x="53200" y="452120"/>
                  </a:lnTo>
                  <a:lnTo>
                    <a:pt x="26606" y="452120"/>
                  </a:lnTo>
                  <a:lnTo>
                    <a:pt x="26606" y="664895"/>
                  </a:lnTo>
                  <a:lnTo>
                    <a:pt x="53200" y="664895"/>
                  </a:lnTo>
                  <a:lnTo>
                    <a:pt x="53200" y="691464"/>
                  </a:lnTo>
                  <a:lnTo>
                    <a:pt x="26606" y="691464"/>
                  </a:lnTo>
                  <a:lnTo>
                    <a:pt x="26606" y="771245"/>
                  </a:lnTo>
                  <a:lnTo>
                    <a:pt x="53200" y="771245"/>
                  </a:lnTo>
                  <a:lnTo>
                    <a:pt x="53200" y="744651"/>
                  </a:lnTo>
                  <a:lnTo>
                    <a:pt x="79794" y="744651"/>
                  </a:lnTo>
                  <a:lnTo>
                    <a:pt x="79794" y="664870"/>
                  </a:lnTo>
                  <a:lnTo>
                    <a:pt x="53200" y="664870"/>
                  </a:lnTo>
                  <a:lnTo>
                    <a:pt x="53200" y="611682"/>
                  </a:lnTo>
                  <a:lnTo>
                    <a:pt x="79794" y="611682"/>
                  </a:lnTo>
                  <a:lnTo>
                    <a:pt x="79794" y="558495"/>
                  </a:lnTo>
                  <a:close/>
                </a:path>
                <a:path w="106679" h="771525">
                  <a:moveTo>
                    <a:pt x="79794" y="425513"/>
                  </a:moveTo>
                  <a:lnTo>
                    <a:pt x="53200" y="425513"/>
                  </a:lnTo>
                  <a:lnTo>
                    <a:pt x="53200" y="452107"/>
                  </a:lnTo>
                  <a:lnTo>
                    <a:pt x="79794" y="452107"/>
                  </a:lnTo>
                  <a:lnTo>
                    <a:pt x="79794" y="425513"/>
                  </a:lnTo>
                  <a:close/>
                </a:path>
                <a:path w="106679" h="771525">
                  <a:moveTo>
                    <a:pt x="79794" y="372325"/>
                  </a:moveTo>
                  <a:lnTo>
                    <a:pt x="53200" y="372325"/>
                  </a:lnTo>
                  <a:lnTo>
                    <a:pt x="53200" y="345732"/>
                  </a:lnTo>
                  <a:lnTo>
                    <a:pt x="26606" y="345732"/>
                  </a:lnTo>
                  <a:lnTo>
                    <a:pt x="26606" y="398919"/>
                  </a:lnTo>
                  <a:lnTo>
                    <a:pt x="53200" y="398919"/>
                  </a:lnTo>
                  <a:lnTo>
                    <a:pt x="79794" y="398919"/>
                  </a:lnTo>
                  <a:lnTo>
                    <a:pt x="79794" y="372325"/>
                  </a:lnTo>
                  <a:close/>
                </a:path>
                <a:path w="106679" h="771525">
                  <a:moveTo>
                    <a:pt x="79794" y="292544"/>
                  </a:moveTo>
                  <a:lnTo>
                    <a:pt x="53200" y="292544"/>
                  </a:lnTo>
                  <a:lnTo>
                    <a:pt x="53200" y="345732"/>
                  </a:lnTo>
                  <a:lnTo>
                    <a:pt x="79794" y="345732"/>
                  </a:lnTo>
                  <a:lnTo>
                    <a:pt x="79794" y="292544"/>
                  </a:lnTo>
                  <a:close/>
                </a:path>
                <a:path w="106679" h="771525">
                  <a:moveTo>
                    <a:pt x="106387" y="212763"/>
                  </a:moveTo>
                  <a:lnTo>
                    <a:pt x="79794" y="212763"/>
                  </a:lnTo>
                  <a:lnTo>
                    <a:pt x="53200" y="212763"/>
                  </a:lnTo>
                  <a:lnTo>
                    <a:pt x="26606" y="212763"/>
                  </a:lnTo>
                  <a:lnTo>
                    <a:pt x="26606" y="292544"/>
                  </a:lnTo>
                  <a:lnTo>
                    <a:pt x="53200" y="292544"/>
                  </a:lnTo>
                  <a:lnTo>
                    <a:pt x="53200" y="239356"/>
                  </a:lnTo>
                  <a:lnTo>
                    <a:pt x="79794" y="239356"/>
                  </a:lnTo>
                  <a:lnTo>
                    <a:pt x="106387" y="239356"/>
                  </a:lnTo>
                  <a:lnTo>
                    <a:pt x="106387" y="212763"/>
                  </a:lnTo>
                  <a:close/>
                </a:path>
                <a:path w="106679" h="771525">
                  <a:moveTo>
                    <a:pt x="106387" y="159575"/>
                  </a:moveTo>
                  <a:lnTo>
                    <a:pt x="79794" y="159575"/>
                  </a:lnTo>
                  <a:lnTo>
                    <a:pt x="53200" y="159575"/>
                  </a:lnTo>
                  <a:lnTo>
                    <a:pt x="26606" y="159575"/>
                  </a:lnTo>
                  <a:lnTo>
                    <a:pt x="26606" y="186169"/>
                  </a:lnTo>
                  <a:lnTo>
                    <a:pt x="53200" y="186169"/>
                  </a:lnTo>
                  <a:lnTo>
                    <a:pt x="79794" y="186169"/>
                  </a:lnTo>
                  <a:lnTo>
                    <a:pt x="106387" y="186169"/>
                  </a:lnTo>
                  <a:lnTo>
                    <a:pt x="106387" y="159575"/>
                  </a:lnTo>
                  <a:close/>
                </a:path>
                <a:path w="106679" h="771525">
                  <a:moveTo>
                    <a:pt x="106387" y="53200"/>
                  </a:moveTo>
                  <a:lnTo>
                    <a:pt x="79794" y="53200"/>
                  </a:lnTo>
                  <a:lnTo>
                    <a:pt x="53200" y="53200"/>
                  </a:lnTo>
                  <a:lnTo>
                    <a:pt x="26606" y="53200"/>
                  </a:lnTo>
                  <a:lnTo>
                    <a:pt x="26606" y="106387"/>
                  </a:lnTo>
                  <a:lnTo>
                    <a:pt x="26606" y="132981"/>
                  </a:lnTo>
                  <a:lnTo>
                    <a:pt x="53200" y="132981"/>
                  </a:lnTo>
                  <a:lnTo>
                    <a:pt x="79794" y="132981"/>
                  </a:lnTo>
                  <a:lnTo>
                    <a:pt x="106387" y="132981"/>
                  </a:lnTo>
                  <a:lnTo>
                    <a:pt x="106387" y="106387"/>
                  </a:lnTo>
                  <a:lnTo>
                    <a:pt x="106387" y="53200"/>
                  </a:lnTo>
                  <a:close/>
                </a:path>
                <a:path w="106679" h="771525">
                  <a:moveTo>
                    <a:pt x="106387" y="0"/>
                  </a:moveTo>
                  <a:lnTo>
                    <a:pt x="79794" y="0"/>
                  </a:lnTo>
                  <a:lnTo>
                    <a:pt x="53200" y="0"/>
                  </a:lnTo>
                  <a:lnTo>
                    <a:pt x="26606" y="0"/>
                  </a:lnTo>
                  <a:lnTo>
                    <a:pt x="26606" y="26593"/>
                  </a:lnTo>
                  <a:lnTo>
                    <a:pt x="53200" y="26593"/>
                  </a:lnTo>
                  <a:lnTo>
                    <a:pt x="79794" y="26593"/>
                  </a:lnTo>
                  <a:lnTo>
                    <a:pt x="106387" y="26593"/>
                  </a:lnTo>
                  <a:lnTo>
                    <a:pt x="106387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14">
              <a:extLst>
                <a:ext uri="{FF2B5EF4-FFF2-40B4-BE49-F238E27FC236}">
                  <a16:creationId xmlns:a16="http://schemas.microsoft.com/office/drawing/2014/main" id="{C0261B28-56E5-FD58-185E-327DAE05255E}"/>
                </a:ext>
              </a:extLst>
            </p:cNvPr>
            <p:cNvSpPr/>
            <p:nvPr/>
          </p:nvSpPr>
          <p:spPr>
            <a:xfrm>
              <a:off x="5779198" y="4852923"/>
              <a:ext cx="0" cy="452120"/>
            </a:xfrm>
            <a:custGeom>
              <a:avLst/>
              <a:gdLst/>
              <a:ahLst/>
              <a:cxnLst/>
              <a:rect l="l" t="t" r="r" b="b"/>
              <a:pathLst>
                <a:path h="452120">
                  <a:moveTo>
                    <a:pt x="0" y="0"/>
                  </a:moveTo>
                  <a:lnTo>
                    <a:pt x="0" y="452107"/>
                  </a:lnTo>
                </a:path>
              </a:pathLst>
            </a:custGeom>
            <a:ln w="26593">
              <a:solidFill>
                <a:srgbClr val="000000"/>
              </a:solidFill>
              <a:prstDash val="sysDashDot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15">
              <a:extLst>
                <a:ext uri="{FF2B5EF4-FFF2-40B4-BE49-F238E27FC236}">
                  <a16:creationId xmlns:a16="http://schemas.microsoft.com/office/drawing/2014/main" id="{31961E76-B0F9-FF65-9C09-058964C6E434}"/>
                </a:ext>
              </a:extLst>
            </p:cNvPr>
            <p:cNvSpPr/>
            <p:nvPr/>
          </p:nvSpPr>
          <p:spPr>
            <a:xfrm>
              <a:off x="5792495" y="4533785"/>
              <a:ext cx="53340" cy="744855"/>
            </a:xfrm>
            <a:custGeom>
              <a:avLst/>
              <a:gdLst/>
              <a:ahLst/>
              <a:cxnLst/>
              <a:rect l="l" t="t" r="r" b="b"/>
              <a:pathLst>
                <a:path w="53339" h="744854">
                  <a:moveTo>
                    <a:pt x="26581" y="611682"/>
                  </a:moveTo>
                  <a:lnTo>
                    <a:pt x="0" y="611682"/>
                  </a:lnTo>
                  <a:lnTo>
                    <a:pt x="0" y="744651"/>
                  </a:lnTo>
                  <a:lnTo>
                    <a:pt x="26581" y="744651"/>
                  </a:lnTo>
                  <a:lnTo>
                    <a:pt x="26581" y="611682"/>
                  </a:lnTo>
                  <a:close/>
                </a:path>
                <a:path w="53339" h="744854">
                  <a:moveTo>
                    <a:pt x="26581" y="505307"/>
                  </a:moveTo>
                  <a:lnTo>
                    <a:pt x="0" y="505307"/>
                  </a:lnTo>
                  <a:lnTo>
                    <a:pt x="0" y="585089"/>
                  </a:lnTo>
                  <a:lnTo>
                    <a:pt x="26581" y="585089"/>
                  </a:lnTo>
                  <a:lnTo>
                    <a:pt x="26581" y="505307"/>
                  </a:lnTo>
                  <a:close/>
                </a:path>
                <a:path w="53339" h="744854">
                  <a:moveTo>
                    <a:pt x="26581" y="398919"/>
                  </a:moveTo>
                  <a:lnTo>
                    <a:pt x="0" y="398919"/>
                  </a:lnTo>
                  <a:lnTo>
                    <a:pt x="0" y="425513"/>
                  </a:lnTo>
                  <a:lnTo>
                    <a:pt x="26581" y="425513"/>
                  </a:lnTo>
                  <a:lnTo>
                    <a:pt x="26581" y="398919"/>
                  </a:lnTo>
                  <a:close/>
                </a:path>
                <a:path w="53339" h="744854">
                  <a:moveTo>
                    <a:pt x="26581" y="292544"/>
                  </a:moveTo>
                  <a:lnTo>
                    <a:pt x="0" y="292544"/>
                  </a:lnTo>
                  <a:lnTo>
                    <a:pt x="0" y="319138"/>
                  </a:lnTo>
                  <a:lnTo>
                    <a:pt x="26581" y="319138"/>
                  </a:lnTo>
                  <a:lnTo>
                    <a:pt x="26581" y="292544"/>
                  </a:lnTo>
                  <a:close/>
                </a:path>
                <a:path w="53339" h="744854">
                  <a:moveTo>
                    <a:pt x="26581" y="159575"/>
                  </a:moveTo>
                  <a:lnTo>
                    <a:pt x="0" y="159575"/>
                  </a:lnTo>
                  <a:lnTo>
                    <a:pt x="0" y="186169"/>
                  </a:lnTo>
                  <a:lnTo>
                    <a:pt x="26581" y="186169"/>
                  </a:lnTo>
                  <a:lnTo>
                    <a:pt x="26581" y="159575"/>
                  </a:lnTo>
                  <a:close/>
                </a:path>
                <a:path w="53339" h="744854">
                  <a:moveTo>
                    <a:pt x="26581" y="0"/>
                  </a:moveTo>
                  <a:lnTo>
                    <a:pt x="0" y="0"/>
                  </a:lnTo>
                  <a:lnTo>
                    <a:pt x="0" y="26593"/>
                  </a:lnTo>
                  <a:lnTo>
                    <a:pt x="26581" y="26593"/>
                  </a:lnTo>
                  <a:lnTo>
                    <a:pt x="26581" y="0"/>
                  </a:lnTo>
                  <a:close/>
                </a:path>
                <a:path w="53339" h="744854">
                  <a:moveTo>
                    <a:pt x="53187" y="611682"/>
                  </a:moveTo>
                  <a:lnTo>
                    <a:pt x="26593" y="611682"/>
                  </a:lnTo>
                  <a:lnTo>
                    <a:pt x="26593" y="691464"/>
                  </a:lnTo>
                  <a:lnTo>
                    <a:pt x="53187" y="691464"/>
                  </a:lnTo>
                  <a:lnTo>
                    <a:pt x="53187" y="611682"/>
                  </a:lnTo>
                  <a:close/>
                </a:path>
                <a:path w="53339" h="744854">
                  <a:moveTo>
                    <a:pt x="53187" y="531901"/>
                  </a:moveTo>
                  <a:lnTo>
                    <a:pt x="26593" y="531901"/>
                  </a:lnTo>
                  <a:lnTo>
                    <a:pt x="26593" y="585089"/>
                  </a:lnTo>
                  <a:lnTo>
                    <a:pt x="53187" y="585089"/>
                  </a:lnTo>
                  <a:lnTo>
                    <a:pt x="53187" y="531901"/>
                  </a:lnTo>
                  <a:close/>
                </a:path>
                <a:path w="53339" h="744854">
                  <a:moveTo>
                    <a:pt x="53187" y="452120"/>
                  </a:moveTo>
                  <a:lnTo>
                    <a:pt x="26593" y="452120"/>
                  </a:lnTo>
                  <a:lnTo>
                    <a:pt x="26593" y="478713"/>
                  </a:lnTo>
                  <a:lnTo>
                    <a:pt x="53187" y="478713"/>
                  </a:lnTo>
                  <a:lnTo>
                    <a:pt x="53187" y="452120"/>
                  </a:lnTo>
                  <a:close/>
                </a:path>
                <a:path w="53339" h="744854">
                  <a:moveTo>
                    <a:pt x="53187" y="345732"/>
                  </a:moveTo>
                  <a:lnTo>
                    <a:pt x="26593" y="345732"/>
                  </a:lnTo>
                  <a:lnTo>
                    <a:pt x="26593" y="372325"/>
                  </a:lnTo>
                  <a:lnTo>
                    <a:pt x="53187" y="372325"/>
                  </a:lnTo>
                  <a:lnTo>
                    <a:pt x="53187" y="345732"/>
                  </a:lnTo>
                  <a:close/>
                </a:path>
                <a:path w="53339" h="744854">
                  <a:moveTo>
                    <a:pt x="53187" y="239356"/>
                  </a:moveTo>
                  <a:lnTo>
                    <a:pt x="26593" y="239356"/>
                  </a:lnTo>
                  <a:lnTo>
                    <a:pt x="26593" y="265950"/>
                  </a:lnTo>
                  <a:lnTo>
                    <a:pt x="53187" y="265950"/>
                  </a:lnTo>
                  <a:lnTo>
                    <a:pt x="53187" y="239356"/>
                  </a:lnTo>
                  <a:close/>
                </a:path>
                <a:path w="53339" h="744854">
                  <a:moveTo>
                    <a:pt x="53187" y="53200"/>
                  </a:moveTo>
                  <a:lnTo>
                    <a:pt x="26593" y="53200"/>
                  </a:lnTo>
                  <a:lnTo>
                    <a:pt x="26593" y="106387"/>
                  </a:lnTo>
                  <a:lnTo>
                    <a:pt x="26593" y="186169"/>
                  </a:lnTo>
                  <a:lnTo>
                    <a:pt x="53187" y="186169"/>
                  </a:lnTo>
                  <a:lnTo>
                    <a:pt x="53187" y="106387"/>
                  </a:lnTo>
                  <a:lnTo>
                    <a:pt x="53187" y="53200"/>
                  </a:lnTo>
                  <a:close/>
                </a:path>
                <a:path w="53339" h="744854">
                  <a:moveTo>
                    <a:pt x="53187" y="0"/>
                  </a:moveTo>
                  <a:lnTo>
                    <a:pt x="26593" y="0"/>
                  </a:lnTo>
                  <a:lnTo>
                    <a:pt x="26593" y="53187"/>
                  </a:lnTo>
                  <a:lnTo>
                    <a:pt x="53187" y="53187"/>
                  </a:lnTo>
                  <a:lnTo>
                    <a:pt x="53187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3425394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9423D010-A3B9-7039-EA21-56726937B5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66535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423D010-A3B9-7039-EA21-56726937B5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A85BDC5-E338-2798-3015-0493E7D8E11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990" y="335563"/>
            <a:ext cx="5328009" cy="484748"/>
          </a:xfrm>
        </p:spPr>
        <p:txBody>
          <a:bodyPr vert="horz" anchor="t"/>
          <a:lstStyle>
            <a:lvl1pPr algn="l">
              <a:defRPr sz="35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7CD5D4E-D25C-ACC3-DA5D-91886EEC9E7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7990" y="1977683"/>
            <a:ext cx="5328009" cy="1655762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Master-Untertitelformat bearbeiten</a:t>
            </a:r>
            <a:endParaRPr lang="en-US" dirty="0"/>
          </a:p>
        </p:txBody>
      </p:sp>
      <p:grpSp>
        <p:nvGrpSpPr>
          <p:cNvPr id="22" name="Grafik 23">
            <a:extLst>
              <a:ext uri="{FF2B5EF4-FFF2-40B4-BE49-F238E27FC236}">
                <a16:creationId xmlns:a16="http://schemas.microsoft.com/office/drawing/2014/main" id="{4E752B44-9257-E045-0D76-82B15DC5C0C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25475" y="4221088"/>
            <a:ext cx="1296000" cy="223871"/>
            <a:chOff x="3042261" y="4495188"/>
            <a:chExt cx="3720761" cy="642716"/>
          </a:xfrm>
          <a:solidFill>
            <a:schemeClr val="bg1"/>
          </a:solidFill>
        </p:grpSpPr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A6C53CC2-7BAD-29AA-A29A-2010FA9AF7AF}"/>
                </a:ext>
              </a:extLst>
            </p:cNvPr>
            <p:cNvSpPr/>
            <p:nvPr/>
          </p:nvSpPr>
          <p:spPr>
            <a:xfrm>
              <a:off x="3042261" y="4495188"/>
              <a:ext cx="450339" cy="638344"/>
            </a:xfrm>
            <a:custGeom>
              <a:avLst/>
              <a:gdLst>
                <a:gd name="connsiteX0" fmla="*/ 262333 w 450339"/>
                <a:gd name="connsiteY0" fmla="*/ 638345 h 638344"/>
                <a:gd name="connsiteX1" fmla="*/ 251403 w 450339"/>
                <a:gd name="connsiteY1" fmla="*/ 638345 h 638344"/>
                <a:gd name="connsiteX2" fmla="*/ 0 w 450339"/>
                <a:gd name="connsiteY2" fmla="*/ 638345 h 638344"/>
                <a:gd name="connsiteX3" fmla="*/ 0 w 450339"/>
                <a:gd name="connsiteY3" fmla="*/ 0 h 638344"/>
                <a:gd name="connsiteX4" fmla="*/ 266706 w 450339"/>
                <a:gd name="connsiteY4" fmla="*/ 0 h 638344"/>
                <a:gd name="connsiteX5" fmla="*/ 450339 w 450339"/>
                <a:gd name="connsiteY5" fmla="*/ 192378 h 638344"/>
                <a:gd name="connsiteX6" fmla="*/ 450339 w 450339"/>
                <a:gd name="connsiteY6" fmla="*/ 452525 h 638344"/>
                <a:gd name="connsiteX7" fmla="*/ 393500 w 450339"/>
                <a:gd name="connsiteY7" fmla="*/ 598995 h 638344"/>
                <a:gd name="connsiteX8" fmla="*/ 262333 w 450339"/>
                <a:gd name="connsiteY8" fmla="*/ 638345 h 638344"/>
                <a:gd name="connsiteX9" fmla="*/ 137725 w 450339"/>
                <a:gd name="connsiteY9" fmla="*/ 500620 h 638344"/>
                <a:gd name="connsiteX10" fmla="*/ 257961 w 450339"/>
                <a:gd name="connsiteY10" fmla="*/ 500620 h 638344"/>
                <a:gd name="connsiteX11" fmla="*/ 319172 w 450339"/>
                <a:gd name="connsiteY11" fmla="*/ 445967 h 638344"/>
                <a:gd name="connsiteX12" fmla="*/ 319172 w 450339"/>
                <a:gd name="connsiteY12" fmla="*/ 196750 h 638344"/>
                <a:gd name="connsiteX13" fmla="*/ 255775 w 450339"/>
                <a:gd name="connsiteY13" fmla="*/ 135539 h 638344"/>
                <a:gd name="connsiteX14" fmla="*/ 135539 w 450339"/>
                <a:gd name="connsiteY14" fmla="*/ 135539 h 638344"/>
                <a:gd name="connsiteX15" fmla="*/ 135539 w 450339"/>
                <a:gd name="connsiteY15" fmla="*/ 500620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0339" h="638344">
                  <a:moveTo>
                    <a:pt x="262333" y="638345"/>
                  </a:moveTo>
                  <a:cubicBezTo>
                    <a:pt x="257961" y="638345"/>
                    <a:pt x="255775" y="638345"/>
                    <a:pt x="251403" y="638345"/>
                  </a:cubicBezTo>
                  <a:lnTo>
                    <a:pt x="0" y="638345"/>
                  </a:lnTo>
                  <a:lnTo>
                    <a:pt x="0" y="0"/>
                  </a:lnTo>
                  <a:lnTo>
                    <a:pt x="266706" y="0"/>
                  </a:lnTo>
                  <a:cubicBezTo>
                    <a:pt x="391314" y="0"/>
                    <a:pt x="450339" y="61211"/>
                    <a:pt x="450339" y="192378"/>
                  </a:cubicBezTo>
                  <a:lnTo>
                    <a:pt x="450339" y="452525"/>
                  </a:lnTo>
                  <a:cubicBezTo>
                    <a:pt x="450339" y="518108"/>
                    <a:pt x="430664" y="566203"/>
                    <a:pt x="393500" y="598995"/>
                  </a:cubicBezTo>
                  <a:cubicBezTo>
                    <a:pt x="362895" y="625228"/>
                    <a:pt x="319172" y="638345"/>
                    <a:pt x="262333" y="638345"/>
                  </a:cubicBezTo>
                  <a:close/>
                  <a:moveTo>
                    <a:pt x="137725" y="500620"/>
                  </a:moveTo>
                  <a:lnTo>
                    <a:pt x="257961" y="500620"/>
                  </a:lnTo>
                  <a:cubicBezTo>
                    <a:pt x="288567" y="500620"/>
                    <a:pt x="314800" y="478758"/>
                    <a:pt x="319172" y="445967"/>
                  </a:cubicBezTo>
                  <a:lnTo>
                    <a:pt x="319172" y="196750"/>
                  </a:lnTo>
                  <a:cubicBezTo>
                    <a:pt x="319172" y="163958"/>
                    <a:pt x="290753" y="135539"/>
                    <a:pt x="255775" y="135539"/>
                  </a:cubicBezTo>
                  <a:lnTo>
                    <a:pt x="135539" y="135539"/>
                  </a:lnTo>
                  <a:lnTo>
                    <a:pt x="135539" y="500620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" name="Freihandform: Form 23">
              <a:extLst>
                <a:ext uri="{FF2B5EF4-FFF2-40B4-BE49-F238E27FC236}">
                  <a16:creationId xmlns:a16="http://schemas.microsoft.com/office/drawing/2014/main" id="{31A9B081-97C2-20F7-6A5C-7C4D15054E6D}"/>
                </a:ext>
              </a:extLst>
            </p:cNvPr>
            <p:cNvSpPr/>
            <p:nvPr/>
          </p:nvSpPr>
          <p:spPr>
            <a:xfrm>
              <a:off x="3612836" y="4495188"/>
              <a:ext cx="461269" cy="638344"/>
            </a:xfrm>
            <a:custGeom>
              <a:avLst/>
              <a:gdLst>
                <a:gd name="connsiteX0" fmla="*/ 461269 w 461269"/>
                <a:gd name="connsiteY0" fmla="*/ 638345 h 638344"/>
                <a:gd name="connsiteX1" fmla="*/ 323544 w 461269"/>
                <a:gd name="connsiteY1" fmla="*/ 638345 h 638344"/>
                <a:gd name="connsiteX2" fmla="*/ 323544 w 461269"/>
                <a:gd name="connsiteY2" fmla="*/ 487503 h 638344"/>
                <a:gd name="connsiteX3" fmla="*/ 137725 w 461269"/>
                <a:gd name="connsiteY3" fmla="*/ 487503 h 638344"/>
                <a:gd name="connsiteX4" fmla="*/ 137725 w 461269"/>
                <a:gd name="connsiteY4" fmla="*/ 638345 h 638344"/>
                <a:gd name="connsiteX5" fmla="*/ 0 w 461269"/>
                <a:gd name="connsiteY5" fmla="*/ 638345 h 638344"/>
                <a:gd name="connsiteX6" fmla="*/ 0 w 461269"/>
                <a:gd name="connsiteY6" fmla="*/ 188006 h 638344"/>
                <a:gd name="connsiteX7" fmla="*/ 190192 w 461269"/>
                <a:gd name="connsiteY7" fmla="*/ 0 h 638344"/>
                <a:gd name="connsiteX8" fmla="*/ 268892 w 461269"/>
                <a:gd name="connsiteY8" fmla="*/ 0 h 638344"/>
                <a:gd name="connsiteX9" fmla="*/ 461269 w 461269"/>
                <a:gd name="connsiteY9" fmla="*/ 192378 h 638344"/>
                <a:gd name="connsiteX10" fmla="*/ 461269 w 461269"/>
                <a:gd name="connsiteY10" fmla="*/ 638345 h 638344"/>
                <a:gd name="connsiteX11" fmla="*/ 137725 w 461269"/>
                <a:gd name="connsiteY11" fmla="*/ 351964 h 638344"/>
                <a:gd name="connsiteX12" fmla="*/ 323544 w 461269"/>
                <a:gd name="connsiteY12" fmla="*/ 351964 h 638344"/>
                <a:gd name="connsiteX13" fmla="*/ 323544 w 461269"/>
                <a:gd name="connsiteY13" fmla="*/ 201122 h 638344"/>
                <a:gd name="connsiteX14" fmla="*/ 262333 w 461269"/>
                <a:gd name="connsiteY14" fmla="*/ 135539 h 638344"/>
                <a:gd name="connsiteX15" fmla="*/ 198936 w 461269"/>
                <a:gd name="connsiteY15" fmla="*/ 135539 h 638344"/>
                <a:gd name="connsiteX16" fmla="*/ 137725 w 461269"/>
                <a:gd name="connsiteY16" fmla="*/ 194564 h 638344"/>
                <a:gd name="connsiteX17" fmla="*/ 137725 w 461269"/>
                <a:gd name="connsiteY17" fmla="*/ 351964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61269" h="638344">
                  <a:moveTo>
                    <a:pt x="461269" y="638345"/>
                  </a:moveTo>
                  <a:lnTo>
                    <a:pt x="323544" y="638345"/>
                  </a:lnTo>
                  <a:lnTo>
                    <a:pt x="323544" y="487503"/>
                  </a:lnTo>
                  <a:lnTo>
                    <a:pt x="137725" y="487503"/>
                  </a:lnTo>
                  <a:lnTo>
                    <a:pt x="137725" y="638345"/>
                  </a:lnTo>
                  <a:lnTo>
                    <a:pt x="0" y="638345"/>
                  </a:lnTo>
                  <a:lnTo>
                    <a:pt x="0" y="188006"/>
                  </a:lnTo>
                  <a:cubicBezTo>
                    <a:pt x="0" y="61211"/>
                    <a:pt x="63397" y="0"/>
                    <a:pt x="190192" y="0"/>
                  </a:cubicBezTo>
                  <a:lnTo>
                    <a:pt x="268892" y="0"/>
                  </a:lnTo>
                  <a:cubicBezTo>
                    <a:pt x="397872" y="0"/>
                    <a:pt x="461269" y="63397"/>
                    <a:pt x="461269" y="192378"/>
                  </a:cubicBezTo>
                  <a:lnTo>
                    <a:pt x="461269" y="638345"/>
                  </a:lnTo>
                  <a:close/>
                  <a:moveTo>
                    <a:pt x="137725" y="351964"/>
                  </a:moveTo>
                  <a:lnTo>
                    <a:pt x="323544" y="351964"/>
                  </a:lnTo>
                  <a:lnTo>
                    <a:pt x="323544" y="201122"/>
                  </a:lnTo>
                  <a:cubicBezTo>
                    <a:pt x="323544" y="163958"/>
                    <a:pt x="295125" y="135539"/>
                    <a:pt x="262333" y="135539"/>
                  </a:cubicBezTo>
                  <a:lnTo>
                    <a:pt x="198936" y="135539"/>
                  </a:lnTo>
                  <a:cubicBezTo>
                    <a:pt x="163958" y="135539"/>
                    <a:pt x="137725" y="161772"/>
                    <a:pt x="137725" y="194564"/>
                  </a:cubicBezTo>
                  <a:lnTo>
                    <a:pt x="137725" y="351964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id="{6C07CA86-CC65-AF69-8C6B-50AC00EAE161}"/>
                </a:ext>
              </a:extLst>
            </p:cNvPr>
            <p:cNvSpPr/>
            <p:nvPr/>
          </p:nvSpPr>
          <p:spPr>
            <a:xfrm>
              <a:off x="4205272" y="4495188"/>
              <a:ext cx="327916" cy="638344"/>
            </a:xfrm>
            <a:custGeom>
              <a:avLst/>
              <a:gdLst>
                <a:gd name="connsiteX0" fmla="*/ 327917 w 327916"/>
                <a:gd name="connsiteY0" fmla="*/ 638345 h 638344"/>
                <a:gd name="connsiteX1" fmla="*/ 0 w 327916"/>
                <a:gd name="connsiteY1" fmla="*/ 638345 h 638344"/>
                <a:gd name="connsiteX2" fmla="*/ 0 w 327916"/>
                <a:gd name="connsiteY2" fmla="*/ 0 h 638344"/>
                <a:gd name="connsiteX3" fmla="*/ 137725 w 327916"/>
                <a:gd name="connsiteY3" fmla="*/ 0 h 638344"/>
                <a:gd name="connsiteX4" fmla="*/ 137725 w 327916"/>
                <a:gd name="connsiteY4" fmla="*/ 500620 h 638344"/>
                <a:gd name="connsiteX5" fmla="*/ 327917 w 327916"/>
                <a:gd name="connsiteY5" fmla="*/ 500620 h 638344"/>
                <a:gd name="connsiteX6" fmla="*/ 327917 w 327916"/>
                <a:gd name="connsiteY6" fmla="*/ 638345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7916" h="638344">
                  <a:moveTo>
                    <a:pt x="327917" y="638345"/>
                  </a:moveTo>
                  <a:lnTo>
                    <a:pt x="0" y="638345"/>
                  </a:lnTo>
                  <a:lnTo>
                    <a:pt x="0" y="0"/>
                  </a:lnTo>
                  <a:lnTo>
                    <a:pt x="137725" y="0"/>
                  </a:lnTo>
                  <a:lnTo>
                    <a:pt x="137725" y="500620"/>
                  </a:lnTo>
                  <a:lnTo>
                    <a:pt x="327917" y="500620"/>
                  </a:lnTo>
                  <a:lnTo>
                    <a:pt x="327917" y="638345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" name="Freihandform: Form 25">
              <a:extLst>
                <a:ext uri="{FF2B5EF4-FFF2-40B4-BE49-F238E27FC236}">
                  <a16:creationId xmlns:a16="http://schemas.microsoft.com/office/drawing/2014/main" id="{AF03A757-4A87-6815-B48B-65B9C776377A}"/>
                </a:ext>
              </a:extLst>
            </p:cNvPr>
            <p:cNvSpPr/>
            <p:nvPr/>
          </p:nvSpPr>
          <p:spPr>
            <a:xfrm>
              <a:off x="4627192" y="4495188"/>
              <a:ext cx="327916" cy="638344"/>
            </a:xfrm>
            <a:custGeom>
              <a:avLst/>
              <a:gdLst>
                <a:gd name="connsiteX0" fmla="*/ 325730 w 327916"/>
                <a:gd name="connsiteY0" fmla="*/ 638345 h 638344"/>
                <a:gd name="connsiteX1" fmla="*/ 0 w 327916"/>
                <a:gd name="connsiteY1" fmla="*/ 638345 h 638344"/>
                <a:gd name="connsiteX2" fmla="*/ 0 w 327916"/>
                <a:gd name="connsiteY2" fmla="*/ 0 h 638344"/>
                <a:gd name="connsiteX3" fmla="*/ 137725 w 327916"/>
                <a:gd name="connsiteY3" fmla="*/ 0 h 638344"/>
                <a:gd name="connsiteX4" fmla="*/ 137725 w 327916"/>
                <a:gd name="connsiteY4" fmla="*/ 500620 h 638344"/>
                <a:gd name="connsiteX5" fmla="*/ 327917 w 327916"/>
                <a:gd name="connsiteY5" fmla="*/ 500620 h 638344"/>
                <a:gd name="connsiteX6" fmla="*/ 327917 w 327916"/>
                <a:gd name="connsiteY6" fmla="*/ 638345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7916" h="638344">
                  <a:moveTo>
                    <a:pt x="325730" y="638345"/>
                  </a:moveTo>
                  <a:lnTo>
                    <a:pt x="0" y="638345"/>
                  </a:lnTo>
                  <a:lnTo>
                    <a:pt x="0" y="0"/>
                  </a:lnTo>
                  <a:lnTo>
                    <a:pt x="137725" y="0"/>
                  </a:lnTo>
                  <a:lnTo>
                    <a:pt x="137725" y="500620"/>
                  </a:lnTo>
                  <a:lnTo>
                    <a:pt x="327917" y="500620"/>
                  </a:lnTo>
                  <a:lnTo>
                    <a:pt x="327917" y="638345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7EA6662F-D9A6-E4FF-5F1E-90BEE28F5DEE}"/>
                </a:ext>
              </a:extLst>
            </p:cNvPr>
            <p:cNvSpPr/>
            <p:nvPr/>
          </p:nvSpPr>
          <p:spPr>
            <a:xfrm>
              <a:off x="5849228" y="4495188"/>
              <a:ext cx="349777" cy="638344"/>
            </a:xfrm>
            <a:custGeom>
              <a:avLst/>
              <a:gdLst>
                <a:gd name="connsiteX0" fmla="*/ 349778 w 349777"/>
                <a:gd name="connsiteY0" fmla="*/ 638345 h 638344"/>
                <a:gd name="connsiteX1" fmla="*/ 0 w 349777"/>
                <a:gd name="connsiteY1" fmla="*/ 638345 h 638344"/>
                <a:gd name="connsiteX2" fmla="*/ 0 w 349777"/>
                <a:gd name="connsiteY2" fmla="*/ 0 h 638344"/>
                <a:gd name="connsiteX3" fmla="*/ 349778 w 349777"/>
                <a:gd name="connsiteY3" fmla="*/ 0 h 638344"/>
                <a:gd name="connsiteX4" fmla="*/ 349778 w 349777"/>
                <a:gd name="connsiteY4" fmla="*/ 137725 h 638344"/>
                <a:gd name="connsiteX5" fmla="*/ 137725 w 349777"/>
                <a:gd name="connsiteY5" fmla="*/ 137725 h 638344"/>
                <a:gd name="connsiteX6" fmla="*/ 137725 w 349777"/>
                <a:gd name="connsiteY6" fmla="*/ 251403 h 638344"/>
                <a:gd name="connsiteX7" fmla="*/ 349778 w 349777"/>
                <a:gd name="connsiteY7" fmla="*/ 251403 h 638344"/>
                <a:gd name="connsiteX8" fmla="*/ 349778 w 349777"/>
                <a:gd name="connsiteY8" fmla="*/ 389128 h 638344"/>
                <a:gd name="connsiteX9" fmla="*/ 137725 w 349777"/>
                <a:gd name="connsiteY9" fmla="*/ 389128 h 638344"/>
                <a:gd name="connsiteX10" fmla="*/ 137725 w 349777"/>
                <a:gd name="connsiteY10" fmla="*/ 500620 h 638344"/>
                <a:gd name="connsiteX11" fmla="*/ 349778 w 349777"/>
                <a:gd name="connsiteY11" fmla="*/ 500620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49777" h="638344">
                  <a:moveTo>
                    <a:pt x="349778" y="638345"/>
                  </a:moveTo>
                  <a:lnTo>
                    <a:pt x="0" y="638345"/>
                  </a:lnTo>
                  <a:lnTo>
                    <a:pt x="0" y="0"/>
                  </a:lnTo>
                  <a:lnTo>
                    <a:pt x="349778" y="0"/>
                  </a:lnTo>
                  <a:lnTo>
                    <a:pt x="349778" y="137725"/>
                  </a:lnTo>
                  <a:lnTo>
                    <a:pt x="137725" y="137725"/>
                  </a:lnTo>
                  <a:lnTo>
                    <a:pt x="137725" y="251403"/>
                  </a:lnTo>
                  <a:lnTo>
                    <a:pt x="349778" y="251403"/>
                  </a:lnTo>
                  <a:lnTo>
                    <a:pt x="349778" y="389128"/>
                  </a:lnTo>
                  <a:lnTo>
                    <a:pt x="137725" y="389128"/>
                  </a:lnTo>
                  <a:lnTo>
                    <a:pt x="137725" y="500620"/>
                  </a:lnTo>
                  <a:lnTo>
                    <a:pt x="349778" y="500620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id="{CEF51744-D32D-3344-734E-CC6EDA2B7051}"/>
                </a:ext>
              </a:extLst>
            </p:cNvPr>
            <p:cNvSpPr/>
            <p:nvPr/>
          </p:nvSpPr>
          <p:spPr>
            <a:xfrm>
              <a:off x="6321428" y="4495188"/>
              <a:ext cx="441594" cy="638344"/>
            </a:xfrm>
            <a:custGeom>
              <a:avLst/>
              <a:gdLst>
                <a:gd name="connsiteX0" fmla="*/ 439408 w 441594"/>
                <a:gd name="connsiteY0" fmla="*/ 450339 h 638344"/>
                <a:gd name="connsiteX1" fmla="*/ 391314 w 441594"/>
                <a:gd name="connsiteY1" fmla="*/ 360708 h 638344"/>
                <a:gd name="connsiteX2" fmla="*/ 439408 w 441594"/>
                <a:gd name="connsiteY2" fmla="*/ 273264 h 638344"/>
                <a:gd name="connsiteX3" fmla="*/ 439408 w 441594"/>
                <a:gd name="connsiteY3" fmla="*/ 179261 h 638344"/>
                <a:gd name="connsiteX4" fmla="*/ 266706 w 441594"/>
                <a:gd name="connsiteY4" fmla="*/ 0 h 638344"/>
                <a:gd name="connsiteX5" fmla="*/ 0 w 441594"/>
                <a:gd name="connsiteY5" fmla="*/ 0 h 638344"/>
                <a:gd name="connsiteX6" fmla="*/ 0 w 441594"/>
                <a:gd name="connsiteY6" fmla="*/ 638345 h 638344"/>
                <a:gd name="connsiteX7" fmla="*/ 137725 w 441594"/>
                <a:gd name="connsiteY7" fmla="*/ 638345 h 638344"/>
                <a:gd name="connsiteX8" fmla="*/ 137725 w 441594"/>
                <a:gd name="connsiteY8" fmla="*/ 435036 h 638344"/>
                <a:gd name="connsiteX9" fmla="*/ 251403 w 441594"/>
                <a:gd name="connsiteY9" fmla="*/ 435036 h 638344"/>
                <a:gd name="connsiteX10" fmla="*/ 314800 w 441594"/>
                <a:gd name="connsiteY10" fmla="*/ 500620 h 638344"/>
                <a:gd name="connsiteX11" fmla="*/ 314800 w 441594"/>
                <a:gd name="connsiteY11" fmla="*/ 638345 h 638344"/>
                <a:gd name="connsiteX12" fmla="*/ 441594 w 441594"/>
                <a:gd name="connsiteY12" fmla="*/ 638345 h 638344"/>
                <a:gd name="connsiteX13" fmla="*/ 439408 w 441594"/>
                <a:gd name="connsiteY13" fmla="*/ 450339 h 638344"/>
                <a:gd name="connsiteX14" fmla="*/ 312614 w 441594"/>
                <a:gd name="connsiteY14" fmla="*/ 244844 h 638344"/>
                <a:gd name="connsiteX15" fmla="*/ 251403 w 441594"/>
                <a:gd name="connsiteY15" fmla="*/ 306056 h 638344"/>
                <a:gd name="connsiteX16" fmla="*/ 137725 w 441594"/>
                <a:gd name="connsiteY16" fmla="*/ 306056 h 638344"/>
                <a:gd name="connsiteX17" fmla="*/ 137725 w 441594"/>
                <a:gd name="connsiteY17" fmla="*/ 135539 h 638344"/>
                <a:gd name="connsiteX18" fmla="*/ 251403 w 441594"/>
                <a:gd name="connsiteY18" fmla="*/ 135539 h 638344"/>
                <a:gd name="connsiteX19" fmla="*/ 314800 w 441594"/>
                <a:gd name="connsiteY19" fmla="*/ 196750 h 638344"/>
                <a:gd name="connsiteX20" fmla="*/ 314800 w 441594"/>
                <a:gd name="connsiteY20" fmla="*/ 244844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41594" h="638344">
                  <a:moveTo>
                    <a:pt x="439408" y="450339"/>
                  </a:moveTo>
                  <a:cubicBezTo>
                    <a:pt x="439408" y="395686"/>
                    <a:pt x="406617" y="369453"/>
                    <a:pt x="391314" y="360708"/>
                  </a:cubicBezTo>
                  <a:cubicBezTo>
                    <a:pt x="408803" y="349778"/>
                    <a:pt x="439408" y="323545"/>
                    <a:pt x="439408" y="273264"/>
                  </a:cubicBezTo>
                  <a:cubicBezTo>
                    <a:pt x="439408" y="238286"/>
                    <a:pt x="439408" y="179261"/>
                    <a:pt x="439408" y="179261"/>
                  </a:cubicBezTo>
                  <a:cubicBezTo>
                    <a:pt x="439408" y="26233"/>
                    <a:pt x="384755" y="0"/>
                    <a:pt x="266706" y="0"/>
                  </a:cubicBezTo>
                  <a:lnTo>
                    <a:pt x="0" y="0"/>
                  </a:lnTo>
                  <a:lnTo>
                    <a:pt x="0" y="638345"/>
                  </a:lnTo>
                  <a:lnTo>
                    <a:pt x="137725" y="638345"/>
                  </a:lnTo>
                  <a:lnTo>
                    <a:pt x="137725" y="435036"/>
                  </a:lnTo>
                  <a:lnTo>
                    <a:pt x="251403" y="435036"/>
                  </a:lnTo>
                  <a:cubicBezTo>
                    <a:pt x="301683" y="435036"/>
                    <a:pt x="314800" y="459083"/>
                    <a:pt x="314800" y="500620"/>
                  </a:cubicBezTo>
                  <a:lnTo>
                    <a:pt x="314800" y="638345"/>
                  </a:lnTo>
                  <a:lnTo>
                    <a:pt x="441594" y="638345"/>
                  </a:lnTo>
                  <a:lnTo>
                    <a:pt x="439408" y="450339"/>
                  </a:lnTo>
                  <a:close/>
                  <a:moveTo>
                    <a:pt x="312614" y="244844"/>
                  </a:moveTo>
                  <a:cubicBezTo>
                    <a:pt x="312614" y="277636"/>
                    <a:pt x="284195" y="306056"/>
                    <a:pt x="251403" y="306056"/>
                  </a:cubicBezTo>
                  <a:lnTo>
                    <a:pt x="137725" y="306056"/>
                  </a:lnTo>
                  <a:lnTo>
                    <a:pt x="137725" y="135539"/>
                  </a:lnTo>
                  <a:lnTo>
                    <a:pt x="251403" y="135539"/>
                  </a:lnTo>
                  <a:cubicBezTo>
                    <a:pt x="290753" y="135539"/>
                    <a:pt x="314800" y="166144"/>
                    <a:pt x="314800" y="196750"/>
                  </a:cubicBezTo>
                  <a:lnTo>
                    <a:pt x="314800" y="244844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id="{D7F20FC5-F85D-39CE-C9D3-9D4BBA9B292D}"/>
                </a:ext>
              </a:extLst>
            </p:cNvPr>
            <p:cNvSpPr/>
            <p:nvPr/>
          </p:nvSpPr>
          <p:spPr>
            <a:xfrm>
              <a:off x="5055670" y="4495188"/>
              <a:ext cx="675508" cy="642716"/>
            </a:xfrm>
            <a:custGeom>
              <a:avLst/>
              <a:gdLst>
                <a:gd name="connsiteX0" fmla="*/ 489689 w 675508"/>
                <a:gd name="connsiteY0" fmla="*/ 0 h 642716"/>
                <a:gd name="connsiteX1" fmla="*/ 424106 w 675508"/>
                <a:gd name="connsiteY1" fmla="*/ 0 h 642716"/>
                <a:gd name="connsiteX2" fmla="*/ 334475 w 675508"/>
                <a:gd name="connsiteY2" fmla="*/ 48094 h 642716"/>
                <a:gd name="connsiteX3" fmla="*/ 247031 w 675508"/>
                <a:gd name="connsiteY3" fmla="*/ 0 h 642716"/>
                <a:gd name="connsiteX4" fmla="*/ 181447 w 675508"/>
                <a:gd name="connsiteY4" fmla="*/ 0 h 642716"/>
                <a:gd name="connsiteX5" fmla="*/ 0 w 675508"/>
                <a:gd name="connsiteY5" fmla="*/ 192378 h 642716"/>
                <a:gd name="connsiteX6" fmla="*/ 0 w 675508"/>
                <a:gd name="connsiteY6" fmla="*/ 640531 h 642716"/>
                <a:gd name="connsiteX7" fmla="*/ 135539 w 675508"/>
                <a:gd name="connsiteY7" fmla="*/ 640531 h 642716"/>
                <a:gd name="connsiteX8" fmla="*/ 135539 w 675508"/>
                <a:gd name="connsiteY8" fmla="*/ 177075 h 642716"/>
                <a:gd name="connsiteX9" fmla="*/ 139911 w 675508"/>
                <a:gd name="connsiteY9" fmla="*/ 155214 h 642716"/>
                <a:gd name="connsiteX10" fmla="*/ 155214 w 675508"/>
                <a:gd name="connsiteY10" fmla="*/ 150842 h 642716"/>
                <a:gd name="connsiteX11" fmla="*/ 249217 w 675508"/>
                <a:gd name="connsiteY11" fmla="*/ 150842 h 642716"/>
                <a:gd name="connsiteX12" fmla="*/ 264519 w 675508"/>
                <a:gd name="connsiteY12" fmla="*/ 155214 h 642716"/>
                <a:gd name="connsiteX13" fmla="*/ 268892 w 675508"/>
                <a:gd name="connsiteY13" fmla="*/ 179261 h 642716"/>
                <a:gd name="connsiteX14" fmla="*/ 268892 w 675508"/>
                <a:gd name="connsiteY14" fmla="*/ 642717 h 642716"/>
                <a:gd name="connsiteX15" fmla="*/ 268892 w 675508"/>
                <a:gd name="connsiteY15" fmla="*/ 642717 h 642716"/>
                <a:gd name="connsiteX16" fmla="*/ 406617 w 675508"/>
                <a:gd name="connsiteY16" fmla="*/ 642717 h 642716"/>
                <a:gd name="connsiteX17" fmla="*/ 406617 w 675508"/>
                <a:gd name="connsiteY17" fmla="*/ 179261 h 642716"/>
                <a:gd name="connsiteX18" fmla="*/ 410989 w 675508"/>
                <a:gd name="connsiteY18" fmla="*/ 155214 h 642716"/>
                <a:gd name="connsiteX19" fmla="*/ 426292 w 675508"/>
                <a:gd name="connsiteY19" fmla="*/ 150842 h 642716"/>
                <a:gd name="connsiteX20" fmla="*/ 520294 w 675508"/>
                <a:gd name="connsiteY20" fmla="*/ 150842 h 642716"/>
                <a:gd name="connsiteX21" fmla="*/ 535597 w 675508"/>
                <a:gd name="connsiteY21" fmla="*/ 155214 h 642716"/>
                <a:gd name="connsiteX22" fmla="*/ 539970 w 675508"/>
                <a:gd name="connsiteY22" fmla="*/ 177075 h 642716"/>
                <a:gd name="connsiteX23" fmla="*/ 539970 w 675508"/>
                <a:gd name="connsiteY23" fmla="*/ 640531 h 642716"/>
                <a:gd name="connsiteX24" fmla="*/ 675509 w 675508"/>
                <a:gd name="connsiteY24" fmla="*/ 640531 h 642716"/>
                <a:gd name="connsiteX25" fmla="*/ 675509 w 675508"/>
                <a:gd name="connsiteY25" fmla="*/ 192378 h 642716"/>
                <a:gd name="connsiteX26" fmla="*/ 489689 w 675508"/>
                <a:gd name="connsiteY26" fmla="*/ 0 h 642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75508" h="642716">
                  <a:moveTo>
                    <a:pt x="489689" y="0"/>
                  </a:moveTo>
                  <a:lnTo>
                    <a:pt x="424106" y="0"/>
                  </a:lnTo>
                  <a:cubicBezTo>
                    <a:pt x="369453" y="0"/>
                    <a:pt x="343220" y="32792"/>
                    <a:pt x="334475" y="48094"/>
                  </a:cubicBezTo>
                  <a:cubicBezTo>
                    <a:pt x="323544" y="30606"/>
                    <a:pt x="297311" y="0"/>
                    <a:pt x="247031" y="0"/>
                  </a:cubicBezTo>
                  <a:lnTo>
                    <a:pt x="181447" y="0"/>
                  </a:lnTo>
                  <a:cubicBezTo>
                    <a:pt x="43722" y="0"/>
                    <a:pt x="0" y="26233"/>
                    <a:pt x="0" y="192378"/>
                  </a:cubicBezTo>
                  <a:lnTo>
                    <a:pt x="0" y="640531"/>
                  </a:lnTo>
                  <a:lnTo>
                    <a:pt x="135539" y="640531"/>
                  </a:lnTo>
                  <a:lnTo>
                    <a:pt x="135539" y="177075"/>
                  </a:lnTo>
                  <a:cubicBezTo>
                    <a:pt x="135539" y="163958"/>
                    <a:pt x="135539" y="157400"/>
                    <a:pt x="139911" y="155214"/>
                  </a:cubicBezTo>
                  <a:cubicBezTo>
                    <a:pt x="142097" y="153028"/>
                    <a:pt x="148655" y="150842"/>
                    <a:pt x="155214" y="150842"/>
                  </a:cubicBezTo>
                  <a:lnTo>
                    <a:pt x="249217" y="150842"/>
                  </a:lnTo>
                  <a:cubicBezTo>
                    <a:pt x="255775" y="150842"/>
                    <a:pt x="260147" y="150842"/>
                    <a:pt x="264519" y="155214"/>
                  </a:cubicBezTo>
                  <a:cubicBezTo>
                    <a:pt x="268892" y="159586"/>
                    <a:pt x="268892" y="163958"/>
                    <a:pt x="268892" y="179261"/>
                  </a:cubicBezTo>
                  <a:lnTo>
                    <a:pt x="268892" y="642717"/>
                  </a:lnTo>
                  <a:lnTo>
                    <a:pt x="268892" y="642717"/>
                  </a:lnTo>
                  <a:lnTo>
                    <a:pt x="406617" y="642717"/>
                  </a:lnTo>
                  <a:lnTo>
                    <a:pt x="406617" y="179261"/>
                  </a:lnTo>
                  <a:cubicBezTo>
                    <a:pt x="406617" y="166144"/>
                    <a:pt x="406617" y="159586"/>
                    <a:pt x="410989" y="155214"/>
                  </a:cubicBezTo>
                  <a:cubicBezTo>
                    <a:pt x="413175" y="153028"/>
                    <a:pt x="419734" y="150842"/>
                    <a:pt x="426292" y="150842"/>
                  </a:cubicBezTo>
                  <a:lnTo>
                    <a:pt x="520294" y="150842"/>
                  </a:lnTo>
                  <a:cubicBezTo>
                    <a:pt x="526853" y="150842"/>
                    <a:pt x="533411" y="150842"/>
                    <a:pt x="535597" y="155214"/>
                  </a:cubicBezTo>
                  <a:cubicBezTo>
                    <a:pt x="539970" y="159586"/>
                    <a:pt x="539970" y="163958"/>
                    <a:pt x="539970" y="177075"/>
                  </a:cubicBezTo>
                  <a:lnTo>
                    <a:pt x="539970" y="640531"/>
                  </a:lnTo>
                  <a:lnTo>
                    <a:pt x="675509" y="640531"/>
                  </a:lnTo>
                  <a:lnTo>
                    <a:pt x="675509" y="192378"/>
                  </a:lnTo>
                  <a:cubicBezTo>
                    <a:pt x="671136" y="26233"/>
                    <a:pt x="627414" y="0"/>
                    <a:pt x="489689" y="0"/>
                  </a:cubicBez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15" name="Grafik 23">
            <a:extLst>
              <a:ext uri="{FF2B5EF4-FFF2-40B4-BE49-F238E27FC236}">
                <a16:creationId xmlns:a16="http://schemas.microsoft.com/office/drawing/2014/main" id="{ECAAF0B7-8F0D-E581-AA18-7927B486506F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07989" y="6218443"/>
            <a:ext cx="1296000" cy="223871"/>
            <a:chOff x="3042261" y="4495188"/>
            <a:chExt cx="3720761" cy="642716"/>
          </a:xfrm>
          <a:solidFill>
            <a:schemeClr val="tx1"/>
          </a:solidFill>
        </p:grpSpPr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332C9884-0FB9-516E-0A27-F260580633A2}"/>
                </a:ext>
              </a:extLst>
            </p:cNvPr>
            <p:cNvSpPr/>
            <p:nvPr/>
          </p:nvSpPr>
          <p:spPr>
            <a:xfrm>
              <a:off x="3042261" y="4495188"/>
              <a:ext cx="450339" cy="638344"/>
            </a:xfrm>
            <a:custGeom>
              <a:avLst/>
              <a:gdLst>
                <a:gd name="connsiteX0" fmla="*/ 262333 w 450339"/>
                <a:gd name="connsiteY0" fmla="*/ 638345 h 638344"/>
                <a:gd name="connsiteX1" fmla="*/ 251403 w 450339"/>
                <a:gd name="connsiteY1" fmla="*/ 638345 h 638344"/>
                <a:gd name="connsiteX2" fmla="*/ 0 w 450339"/>
                <a:gd name="connsiteY2" fmla="*/ 638345 h 638344"/>
                <a:gd name="connsiteX3" fmla="*/ 0 w 450339"/>
                <a:gd name="connsiteY3" fmla="*/ 0 h 638344"/>
                <a:gd name="connsiteX4" fmla="*/ 266706 w 450339"/>
                <a:gd name="connsiteY4" fmla="*/ 0 h 638344"/>
                <a:gd name="connsiteX5" fmla="*/ 450339 w 450339"/>
                <a:gd name="connsiteY5" fmla="*/ 192378 h 638344"/>
                <a:gd name="connsiteX6" fmla="*/ 450339 w 450339"/>
                <a:gd name="connsiteY6" fmla="*/ 452525 h 638344"/>
                <a:gd name="connsiteX7" fmla="*/ 393500 w 450339"/>
                <a:gd name="connsiteY7" fmla="*/ 598995 h 638344"/>
                <a:gd name="connsiteX8" fmla="*/ 262333 w 450339"/>
                <a:gd name="connsiteY8" fmla="*/ 638345 h 638344"/>
                <a:gd name="connsiteX9" fmla="*/ 137725 w 450339"/>
                <a:gd name="connsiteY9" fmla="*/ 500620 h 638344"/>
                <a:gd name="connsiteX10" fmla="*/ 257961 w 450339"/>
                <a:gd name="connsiteY10" fmla="*/ 500620 h 638344"/>
                <a:gd name="connsiteX11" fmla="*/ 319172 w 450339"/>
                <a:gd name="connsiteY11" fmla="*/ 445967 h 638344"/>
                <a:gd name="connsiteX12" fmla="*/ 319172 w 450339"/>
                <a:gd name="connsiteY12" fmla="*/ 196750 h 638344"/>
                <a:gd name="connsiteX13" fmla="*/ 255775 w 450339"/>
                <a:gd name="connsiteY13" fmla="*/ 135539 h 638344"/>
                <a:gd name="connsiteX14" fmla="*/ 135539 w 450339"/>
                <a:gd name="connsiteY14" fmla="*/ 135539 h 638344"/>
                <a:gd name="connsiteX15" fmla="*/ 135539 w 450339"/>
                <a:gd name="connsiteY15" fmla="*/ 500620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0339" h="638344">
                  <a:moveTo>
                    <a:pt x="262333" y="638345"/>
                  </a:moveTo>
                  <a:cubicBezTo>
                    <a:pt x="257961" y="638345"/>
                    <a:pt x="255775" y="638345"/>
                    <a:pt x="251403" y="638345"/>
                  </a:cubicBezTo>
                  <a:lnTo>
                    <a:pt x="0" y="638345"/>
                  </a:lnTo>
                  <a:lnTo>
                    <a:pt x="0" y="0"/>
                  </a:lnTo>
                  <a:lnTo>
                    <a:pt x="266706" y="0"/>
                  </a:lnTo>
                  <a:cubicBezTo>
                    <a:pt x="391314" y="0"/>
                    <a:pt x="450339" y="61211"/>
                    <a:pt x="450339" y="192378"/>
                  </a:cubicBezTo>
                  <a:lnTo>
                    <a:pt x="450339" y="452525"/>
                  </a:lnTo>
                  <a:cubicBezTo>
                    <a:pt x="450339" y="518108"/>
                    <a:pt x="430664" y="566203"/>
                    <a:pt x="393500" y="598995"/>
                  </a:cubicBezTo>
                  <a:cubicBezTo>
                    <a:pt x="362895" y="625228"/>
                    <a:pt x="319172" y="638345"/>
                    <a:pt x="262333" y="638345"/>
                  </a:cubicBezTo>
                  <a:close/>
                  <a:moveTo>
                    <a:pt x="137725" y="500620"/>
                  </a:moveTo>
                  <a:lnTo>
                    <a:pt x="257961" y="500620"/>
                  </a:lnTo>
                  <a:cubicBezTo>
                    <a:pt x="288567" y="500620"/>
                    <a:pt x="314800" y="478758"/>
                    <a:pt x="319172" y="445967"/>
                  </a:cubicBezTo>
                  <a:lnTo>
                    <a:pt x="319172" y="196750"/>
                  </a:lnTo>
                  <a:cubicBezTo>
                    <a:pt x="319172" y="163958"/>
                    <a:pt x="290753" y="135539"/>
                    <a:pt x="255775" y="135539"/>
                  </a:cubicBezTo>
                  <a:lnTo>
                    <a:pt x="135539" y="135539"/>
                  </a:lnTo>
                  <a:lnTo>
                    <a:pt x="135539" y="500620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025C3C52-FB1B-CF0E-3ED3-0C9D96F7E99B}"/>
                </a:ext>
              </a:extLst>
            </p:cNvPr>
            <p:cNvSpPr/>
            <p:nvPr/>
          </p:nvSpPr>
          <p:spPr>
            <a:xfrm>
              <a:off x="3612836" y="4495188"/>
              <a:ext cx="461269" cy="638344"/>
            </a:xfrm>
            <a:custGeom>
              <a:avLst/>
              <a:gdLst>
                <a:gd name="connsiteX0" fmla="*/ 461269 w 461269"/>
                <a:gd name="connsiteY0" fmla="*/ 638345 h 638344"/>
                <a:gd name="connsiteX1" fmla="*/ 323544 w 461269"/>
                <a:gd name="connsiteY1" fmla="*/ 638345 h 638344"/>
                <a:gd name="connsiteX2" fmla="*/ 323544 w 461269"/>
                <a:gd name="connsiteY2" fmla="*/ 487503 h 638344"/>
                <a:gd name="connsiteX3" fmla="*/ 137725 w 461269"/>
                <a:gd name="connsiteY3" fmla="*/ 487503 h 638344"/>
                <a:gd name="connsiteX4" fmla="*/ 137725 w 461269"/>
                <a:gd name="connsiteY4" fmla="*/ 638345 h 638344"/>
                <a:gd name="connsiteX5" fmla="*/ 0 w 461269"/>
                <a:gd name="connsiteY5" fmla="*/ 638345 h 638344"/>
                <a:gd name="connsiteX6" fmla="*/ 0 w 461269"/>
                <a:gd name="connsiteY6" fmla="*/ 188006 h 638344"/>
                <a:gd name="connsiteX7" fmla="*/ 190192 w 461269"/>
                <a:gd name="connsiteY7" fmla="*/ 0 h 638344"/>
                <a:gd name="connsiteX8" fmla="*/ 268892 w 461269"/>
                <a:gd name="connsiteY8" fmla="*/ 0 h 638344"/>
                <a:gd name="connsiteX9" fmla="*/ 461269 w 461269"/>
                <a:gd name="connsiteY9" fmla="*/ 192378 h 638344"/>
                <a:gd name="connsiteX10" fmla="*/ 461269 w 461269"/>
                <a:gd name="connsiteY10" fmla="*/ 638345 h 638344"/>
                <a:gd name="connsiteX11" fmla="*/ 137725 w 461269"/>
                <a:gd name="connsiteY11" fmla="*/ 351964 h 638344"/>
                <a:gd name="connsiteX12" fmla="*/ 323544 w 461269"/>
                <a:gd name="connsiteY12" fmla="*/ 351964 h 638344"/>
                <a:gd name="connsiteX13" fmla="*/ 323544 w 461269"/>
                <a:gd name="connsiteY13" fmla="*/ 201122 h 638344"/>
                <a:gd name="connsiteX14" fmla="*/ 262333 w 461269"/>
                <a:gd name="connsiteY14" fmla="*/ 135539 h 638344"/>
                <a:gd name="connsiteX15" fmla="*/ 198936 w 461269"/>
                <a:gd name="connsiteY15" fmla="*/ 135539 h 638344"/>
                <a:gd name="connsiteX16" fmla="*/ 137725 w 461269"/>
                <a:gd name="connsiteY16" fmla="*/ 194564 h 638344"/>
                <a:gd name="connsiteX17" fmla="*/ 137725 w 461269"/>
                <a:gd name="connsiteY17" fmla="*/ 351964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61269" h="638344">
                  <a:moveTo>
                    <a:pt x="461269" y="638345"/>
                  </a:moveTo>
                  <a:lnTo>
                    <a:pt x="323544" y="638345"/>
                  </a:lnTo>
                  <a:lnTo>
                    <a:pt x="323544" y="487503"/>
                  </a:lnTo>
                  <a:lnTo>
                    <a:pt x="137725" y="487503"/>
                  </a:lnTo>
                  <a:lnTo>
                    <a:pt x="137725" y="638345"/>
                  </a:lnTo>
                  <a:lnTo>
                    <a:pt x="0" y="638345"/>
                  </a:lnTo>
                  <a:lnTo>
                    <a:pt x="0" y="188006"/>
                  </a:lnTo>
                  <a:cubicBezTo>
                    <a:pt x="0" y="61211"/>
                    <a:pt x="63397" y="0"/>
                    <a:pt x="190192" y="0"/>
                  </a:cubicBezTo>
                  <a:lnTo>
                    <a:pt x="268892" y="0"/>
                  </a:lnTo>
                  <a:cubicBezTo>
                    <a:pt x="397872" y="0"/>
                    <a:pt x="461269" y="63397"/>
                    <a:pt x="461269" y="192378"/>
                  </a:cubicBezTo>
                  <a:lnTo>
                    <a:pt x="461269" y="638345"/>
                  </a:lnTo>
                  <a:close/>
                  <a:moveTo>
                    <a:pt x="137725" y="351964"/>
                  </a:moveTo>
                  <a:lnTo>
                    <a:pt x="323544" y="351964"/>
                  </a:lnTo>
                  <a:lnTo>
                    <a:pt x="323544" y="201122"/>
                  </a:lnTo>
                  <a:cubicBezTo>
                    <a:pt x="323544" y="163958"/>
                    <a:pt x="295125" y="135539"/>
                    <a:pt x="262333" y="135539"/>
                  </a:cubicBezTo>
                  <a:lnTo>
                    <a:pt x="198936" y="135539"/>
                  </a:lnTo>
                  <a:cubicBezTo>
                    <a:pt x="163958" y="135539"/>
                    <a:pt x="137725" y="161772"/>
                    <a:pt x="137725" y="194564"/>
                  </a:cubicBezTo>
                  <a:lnTo>
                    <a:pt x="137725" y="351964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1BFD1CFD-F5E4-B30C-8C70-1963A8F3BFB8}"/>
                </a:ext>
              </a:extLst>
            </p:cNvPr>
            <p:cNvSpPr/>
            <p:nvPr/>
          </p:nvSpPr>
          <p:spPr>
            <a:xfrm>
              <a:off x="4205272" y="4495188"/>
              <a:ext cx="327916" cy="638344"/>
            </a:xfrm>
            <a:custGeom>
              <a:avLst/>
              <a:gdLst>
                <a:gd name="connsiteX0" fmla="*/ 327917 w 327916"/>
                <a:gd name="connsiteY0" fmla="*/ 638345 h 638344"/>
                <a:gd name="connsiteX1" fmla="*/ 0 w 327916"/>
                <a:gd name="connsiteY1" fmla="*/ 638345 h 638344"/>
                <a:gd name="connsiteX2" fmla="*/ 0 w 327916"/>
                <a:gd name="connsiteY2" fmla="*/ 0 h 638344"/>
                <a:gd name="connsiteX3" fmla="*/ 137725 w 327916"/>
                <a:gd name="connsiteY3" fmla="*/ 0 h 638344"/>
                <a:gd name="connsiteX4" fmla="*/ 137725 w 327916"/>
                <a:gd name="connsiteY4" fmla="*/ 500620 h 638344"/>
                <a:gd name="connsiteX5" fmla="*/ 327917 w 327916"/>
                <a:gd name="connsiteY5" fmla="*/ 500620 h 638344"/>
                <a:gd name="connsiteX6" fmla="*/ 327917 w 327916"/>
                <a:gd name="connsiteY6" fmla="*/ 638345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7916" h="638344">
                  <a:moveTo>
                    <a:pt x="327917" y="638345"/>
                  </a:moveTo>
                  <a:lnTo>
                    <a:pt x="0" y="638345"/>
                  </a:lnTo>
                  <a:lnTo>
                    <a:pt x="0" y="0"/>
                  </a:lnTo>
                  <a:lnTo>
                    <a:pt x="137725" y="0"/>
                  </a:lnTo>
                  <a:lnTo>
                    <a:pt x="137725" y="500620"/>
                  </a:lnTo>
                  <a:lnTo>
                    <a:pt x="327917" y="500620"/>
                  </a:lnTo>
                  <a:lnTo>
                    <a:pt x="327917" y="638345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332EBED2-617A-BC87-F3C8-457AAE9E2DA3}"/>
                </a:ext>
              </a:extLst>
            </p:cNvPr>
            <p:cNvSpPr/>
            <p:nvPr/>
          </p:nvSpPr>
          <p:spPr>
            <a:xfrm>
              <a:off x="4627192" y="4495188"/>
              <a:ext cx="327916" cy="638344"/>
            </a:xfrm>
            <a:custGeom>
              <a:avLst/>
              <a:gdLst>
                <a:gd name="connsiteX0" fmla="*/ 325730 w 327916"/>
                <a:gd name="connsiteY0" fmla="*/ 638345 h 638344"/>
                <a:gd name="connsiteX1" fmla="*/ 0 w 327916"/>
                <a:gd name="connsiteY1" fmla="*/ 638345 h 638344"/>
                <a:gd name="connsiteX2" fmla="*/ 0 w 327916"/>
                <a:gd name="connsiteY2" fmla="*/ 0 h 638344"/>
                <a:gd name="connsiteX3" fmla="*/ 137725 w 327916"/>
                <a:gd name="connsiteY3" fmla="*/ 0 h 638344"/>
                <a:gd name="connsiteX4" fmla="*/ 137725 w 327916"/>
                <a:gd name="connsiteY4" fmla="*/ 500620 h 638344"/>
                <a:gd name="connsiteX5" fmla="*/ 327917 w 327916"/>
                <a:gd name="connsiteY5" fmla="*/ 500620 h 638344"/>
                <a:gd name="connsiteX6" fmla="*/ 327917 w 327916"/>
                <a:gd name="connsiteY6" fmla="*/ 638345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7916" h="638344">
                  <a:moveTo>
                    <a:pt x="325730" y="638345"/>
                  </a:moveTo>
                  <a:lnTo>
                    <a:pt x="0" y="638345"/>
                  </a:lnTo>
                  <a:lnTo>
                    <a:pt x="0" y="0"/>
                  </a:lnTo>
                  <a:lnTo>
                    <a:pt x="137725" y="0"/>
                  </a:lnTo>
                  <a:lnTo>
                    <a:pt x="137725" y="500620"/>
                  </a:lnTo>
                  <a:lnTo>
                    <a:pt x="327917" y="500620"/>
                  </a:lnTo>
                  <a:lnTo>
                    <a:pt x="327917" y="638345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id="{49AB917F-F2FA-233A-BA7C-87D45520EEC5}"/>
                </a:ext>
              </a:extLst>
            </p:cNvPr>
            <p:cNvSpPr/>
            <p:nvPr/>
          </p:nvSpPr>
          <p:spPr>
            <a:xfrm>
              <a:off x="5849228" y="4495188"/>
              <a:ext cx="349777" cy="638344"/>
            </a:xfrm>
            <a:custGeom>
              <a:avLst/>
              <a:gdLst>
                <a:gd name="connsiteX0" fmla="*/ 349778 w 349777"/>
                <a:gd name="connsiteY0" fmla="*/ 638345 h 638344"/>
                <a:gd name="connsiteX1" fmla="*/ 0 w 349777"/>
                <a:gd name="connsiteY1" fmla="*/ 638345 h 638344"/>
                <a:gd name="connsiteX2" fmla="*/ 0 w 349777"/>
                <a:gd name="connsiteY2" fmla="*/ 0 h 638344"/>
                <a:gd name="connsiteX3" fmla="*/ 349778 w 349777"/>
                <a:gd name="connsiteY3" fmla="*/ 0 h 638344"/>
                <a:gd name="connsiteX4" fmla="*/ 349778 w 349777"/>
                <a:gd name="connsiteY4" fmla="*/ 137725 h 638344"/>
                <a:gd name="connsiteX5" fmla="*/ 137725 w 349777"/>
                <a:gd name="connsiteY5" fmla="*/ 137725 h 638344"/>
                <a:gd name="connsiteX6" fmla="*/ 137725 w 349777"/>
                <a:gd name="connsiteY6" fmla="*/ 251403 h 638344"/>
                <a:gd name="connsiteX7" fmla="*/ 349778 w 349777"/>
                <a:gd name="connsiteY7" fmla="*/ 251403 h 638344"/>
                <a:gd name="connsiteX8" fmla="*/ 349778 w 349777"/>
                <a:gd name="connsiteY8" fmla="*/ 389128 h 638344"/>
                <a:gd name="connsiteX9" fmla="*/ 137725 w 349777"/>
                <a:gd name="connsiteY9" fmla="*/ 389128 h 638344"/>
                <a:gd name="connsiteX10" fmla="*/ 137725 w 349777"/>
                <a:gd name="connsiteY10" fmla="*/ 500620 h 638344"/>
                <a:gd name="connsiteX11" fmla="*/ 349778 w 349777"/>
                <a:gd name="connsiteY11" fmla="*/ 500620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49777" h="638344">
                  <a:moveTo>
                    <a:pt x="349778" y="638345"/>
                  </a:moveTo>
                  <a:lnTo>
                    <a:pt x="0" y="638345"/>
                  </a:lnTo>
                  <a:lnTo>
                    <a:pt x="0" y="0"/>
                  </a:lnTo>
                  <a:lnTo>
                    <a:pt x="349778" y="0"/>
                  </a:lnTo>
                  <a:lnTo>
                    <a:pt x="349778" y="137725"/>
                  </a:lnTo>
                  <a:lnTo>
                    <a:pt x="137725" y="137725"/>
                  </a:lnTo>
                  <a:lnTo>
                    <a:pt x="137725" y="251403"/>
                  </a:lnTo>
                  <a:lnTo>
                    <a:pt x="349778" y="251403"/>
                  </a:lnTo>
                  <a:lnTo>
                    <a:pt x="349778" y="389128"/>
                  </a:lnTo>
                  <a:lnTo>
                    <a:pt x="137725" y="389128"/>
                  </a:lnTo>
                  <a:lnTo>
                    <a:pt x="137725" y="500620"/>
                  </a:lnTo>
                  <a:lnTo>
                    <a:pt x="349778" y="500620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4602FF4F-D119-74DD-664D-CEC0D70FB349}"/>
                </a:ext>
              </a:extLst>
            </p:cNvPr>
            <p:cNvSpPr/>
            <p:nvPr/>
          </p:nvSpPr>
          <p:spPr>
            <a:xfrm>
              <a:off x="6321428" y="4495188"/>
              <a:ext cx="441594" cy="638344"/>
            </a:xfrm>
            <a:custGeom>
              <a:avLst/>
              <a:gdLst>
                <a:gd name="connsiteX0" fmla="*/ 439408 w 441594"/>
                <a:gd name="connsiteY0" fmla="*/ 450339 h 638344"/>
                <a:gd name="connsiteX1" fmla="*/ 391314 w 441594"/>
                <a:gd name="connsiteY1" fmla="*/ 360708 h 638344"/>
                <a:gd name="connsiteX2" fmla="*/ 439408 w 441594"/>
                <a:gd name="connsiteY2" fmla="*/ 273264 h 638344"/>
                <a:gd name="connsiteX3" fmla="*/ 439408 w 441594"/>
                <a:gd name="connsiteY3" fmla="*/ 179261 h 638344"/>
                <a:gd name="connsiteX4" fmla="*/ 266706 w 441594"/>
                <a:gd name="connsiteY4" fmla="*/ 0 h 638344"/>
                <a:gd name="connsiteX5" fmla="*/ 0 w 441594"/>
                <a:gd name="connsiteY5" fmla="*/ 0 h 638344"/>
                <a:gd name="connsiteX6" fmla="*/ 0 w 441594"/>
                <a:gd name="connsiteY6" fmla="*/ 638345 h 638344"/>
                <a:gd name="connsiteX7" fmla="*/ 137725 w 441594"/>
                <a:gd name="connsiteY7" fmla="*/ 638345 h 638344"/>
                <a:gd name="connsiteX8" fmla="*/ 137725 w 441594"/>
                <a:gd name="connsiteY8" fmla="*/ 435036 h 638344"/>
                <a:gd name="connsiteX9" fmla="*/ 251403 w 441594"/>
                <a:gd name="connsiteY9" fmla="*/ 435036 h 638344"/>
                <a:gd name="connsiteX10" fmla="*/ 314800 w 441594"/>
                <a:gd name="connsiteY10" fmla="*/ 500620 h 638344"/>
                <a:gd name="connsiteX11" fmla="*/ 314800 w 441594"/>
                <a:gd name="connsiteY11" fmla="*/ 638345 h 638344"/>
                <a:gd name="connsiteX12" fmla="*/ 441594 w 441594"/>
                <a:gd name="connsiteY12" fmla="*/ 638345 h 638344"/>
                <a:gd name="connsiteX13" fmla="*/ 439408 w 441594"/>
                <a:gd name="connsiteY13" fmla="*/ 450339 h 638344"/>
                <a:gd name="connsiteX14" fmla="*/ 312614 w 441594"/>
                <a:gd name="connsiteY14" fmla="*/ 244844 h 638344"/>
                <a:gd name="connsiteX15" fmla="*/ 251403 w 441594"/>
                <a:gd name="connsiteY15" fmla="*/ 306056 h 638344"/>
                <a:gd name="connsiteX16" fmla="*/ 137725 w 441594"/>
                <a:gd name="connsiteY16" fmla="*/ 306056 h 638344"/>
                <a:gd name="connsiteX17" fmla="*/ 137725 w 441594"/>
                <a:gd name="connsiteY17" fmla="*/ 135539 h 638344"/>
                <a:gd name="connsiteX18" fmla="*/ 251403 w 441594"/>
                <a:gd name="connsiteY18" fmla="*/ 135539 h 638344"/>
                <a:gd name="connsiteX19" fmla="*/ 314800 w 441594"/>
                <a:gd name="connsiteY19" fmla="*/ 196750 h 638344"/>
                <a:gd name="connsiteX20" fmla="*/ 314800 w 441594"/>
                <a:gd name="connsiteY20" fmla="*/ 244844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41594" h="638344">
                  <a:moveTo>
                    <a:pt x="439408" y="450339"/>
                  </a:moveTo>
                  <a:cubicBezTo>
                    <a:pt x="439408" y="395686"/>
                    <a:pt x="406617" y="369453"/>
                    <a:pt x="391314" y="360708"/>
                  </a:cubicBezTo>
                  <a:cubicBezTo>
                    <a:pt x="408803" y="349778"/>
                    <a:pt x="439408" y="323545"/>
                    <a:pt x="439408" y="273264"/>
                  </a:cubicBezTo>
                  <a:cubicBezTo>
                    <a:pt x="439408" y="238286"/>
                    <a:pt x="439408" y="179261"/>
                    <a:pt x="439408" y="179261"/>
                  </a:cubicBezTo>
                  <a:cubicBezTo>
                    <a:pt x="439408" y="26233"/>
                    <a:pt x="384755" y="0"/>
                    <a:pt x="266706" y="0"/>
                  </a:cubicBezTo>
                  <a:lnTo>
                    <a:pt x="0" y="0"/>
                  </a:lnTo>
                  <a:lnTo>
                    <a:pt x="0" y="638345"/>
                  </a:lnTo>
                  <a:lnTo>
                    <a:pt x="137725" y="638345"/>
                  </a:lnTo>
                  <a:lnTo>
                    <a:pt x="137725" y="435036"/>
                  </a:lnTo>
                  <a:lnTo>
                    <a:pt x="251403" y="435036"/>
                  </a:lnTo>
                  <a:cubicBezTo>
                    <a:pt x="301683" y="435036"/>
                    <a:pt x="314800" y="459083"/>
                    <a:pt x="314800" y="500620"/>
                  </a:cubicBezTo>
                  <a:lnTo>
                    <a:pt x="314800" y="638345"/>
                  </a:lnTo>
                  <a:lnTo>
                    <a:pt x="441594" y="638345"/>
                  </a:lnTo>
                  <a:lnTo>
                    <a:pt x="439408" y="450339"/>
                  </a:lnTo>
                  <a:close/>
                  <a:moveTo>
                    <a:pt x="312614" y="244844"/>
                  </a:moveTo>
                  <a:cubicBezTo>
                    <a:pt x="312614" y="277636"/>
                    <a:pt x="284195" y="306056"/>
                    <a:pt x="251403" y="306056"/>
                  </a:cubicBezTo>
                  <a:lnTo>
                    <a:pt x="137725" y="306056"/>
                  </a:lnTo>
                  <a:lnTo>
                    <a:pt x="137725" y="135539"/>
                  </a:lnTo>
                  <a:lnTo>
                    <a:pt x="251403" y="135539"/>
                  </a:lnTo>
                  <a:cubicBezTo>
                    <a:pt x="290753" y="135539"/>
                    <a:pt x="314800" y="166144"/>
                    <a:pt x="314800" y="196750"/>
                  </a:cubicBezTo>
                  <a:lnTo>
                    <a:pt x="314800" y="244844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" name="Freihandform: Form 29">
              <a:extLst>
                <a:ext uri="{FF2B5EF4-FFF2-40B4-BE49-F238E27FC236}">
                  <a16:creationId xmlns:a16="http://schemas.microsoft.com/office/drawing/2014/main" id="{9807A905-8172-1818-3DB8-D4BBAE7B9BA9}"/>
                </a:ext>
              </a:extLst>
            </p:cNvPr>
            <p:cNvSpPr/>
            <p:nvPr/>
          </p:nvSpPr>
          <p:spPr>
            <a:xfrm>
              <a:off x="5055670" y="4495188"/>
              <a:ext cx="675508" cy="642716"/>
            </a:xfrm>
            <a:custGeom>
              <a:avLst/>
              <a:gdLst>
                <a:gd name="connsiteX0" fmla="*/ 489689 w 675508"/>
                <a:gd name="connsiteY0" fmla="*/ 0 h 642716"/>
                <a:gd name="connsiteX1" fmla="*/ 424106 w 675508"/>
                <a:gd name="connsiteY1" fmla="*/ 0 h 642716"/>
                <a:gd name="connsiteX2" fmla="*/ 334475 w 675508"/>
                <a:gd name="connsiteY2" fmla="*/ 48094 h 642716"/>
                <a:gd name="connsiteX3" fmla="*/ 247031 w 675508"/>
                <a:gd name="connsiteY3" fmla="*/ 0 h 642716"/>
                <a:gd name="connsiteX4" fmla="*/ 181447 w 675508"/>
                <a:gd name="connsiteY4" fmla="*/ 0 h 642716"/>
                <a:gd name="connsiteX5" fmla="*/ 0 w 675508"/>
                <a:gd name="connsiteY5" fmla="*/ 192378 h 642716"/>
                <a:gd name="connsiteX6" fmla="*/ 0 w 675508"/>
                <a:gd name="connsiteY6" fmla="*/ 640531 h 642716"/>
                <a:gd name="connsiteX7" fmla="*/ 135539 w 675508"/>
                <a:gd name="connsiteY7" fmla="*/ 640531 h 642716"/>
                <a:gd name="connsiteX8" fmla="*/ 135539 w 675508"/>
                <a:gd name="connsiteY8" fmla="*/ 177075 h 642716"/>
                <a:gd name="connsiteX9" fmla="*/ 139911 w 675508"/>
                <a:gd name="connsiteY9" fmla="*/ 155214 h 642716"/>
                <a:gd name="connsiteX10" fmla="*/ 155214 w 675508"/>
                <a:gd name="connsiteY10" fmla="*/ 150842 h 642716"/>
                <a:gd name="connsiteX11" fmla="*/ 249217 w 675508"/>
                <a:gd name="connsiteY11" fmla="*/ 150842 h 642716"/>
                <a:gd name="connsiteX12" fmla="*/ 264519 w 675508"/>
                <a:gd name="connsiteY12" fmla="*/ 155214 h 642716"/>
                <a:gd name="connsiteX13" fmla="*/ 268892 w 675508"/>
                <a:gd name="connsiteY13" fmla="*/ 179261 h 642716"/>
                <a:gd name="connsiteX14" fmla="*/ 268892 w 675508"/>
                <a:gd name="connsiteY14" fmla="*/ 642717 h 642716"/>
                <a:gd name="connsiteX15" fmla="*/ 268892 w 675508"/>
                <a:gd name="connsiteY15" fmla="*/ 642717 h 642716"/>
                <a:gd name="connsiteX16" fmla="*/ 406617 w 675508"/>
                <a:gd name="connsiteY16" fmla="*/ 642717 h 642716"/>
                <a:gd name="connsiteX17" fmla="*/ 406617 w 675508"/>
                <a:gd name="connsiteY17" fmla="*/ 179261 h 642716"/>
                <a:gd name="connsiteX18" fmla="*/ 410989 w 675508"/>
                <a:gd name="connsiteY18" fmla="*/ 155214 h 642716"/>
                <a:gd name="connsiteX19" fmla="*/ 426292 w 675508"/>
                <a:gd name="connsiteY19" fmla="*/ 150842 h 642716"/>
                <a:gd name="connsiteX20" fmla="*/ 520294 w 675508"/>
                <a:gd name="connsiteY20" fmla="*/ 150842 h 642716"/>
                <a:gd name="connsiteX21" fmla="*/ 535597 w 675508"/>
                <a:gd name="connsiteY21" fmla="*/ 155214 h 642716"/>
                <a:gd name="connsiteX22" fmla="*/ 539970 w 675508"/>
                <a:gd name="connsiteY22" fmla="*/ 177075 h 642716"/>
                <a:gd name="connsiteX23" fmla="*/ 539970 w 675508"/>
                <a:gd name="connsiteY23" fmla="*/ 640531 h 642716"/>
                <a:gd name="connsiteX24" fmla="*/ 675509 w 675508"/>
                <a:gd name="connsiteY24" fmla="*/ 640531 h 642716"/>
                <a:gd name="connsiteX25" fmla="*/ 675509 w 675508"/>
                <a:gd name="connsiteY25" fmla="*/ 192378 h 642716"/>
                <a:gd name="connsiteX26" fmla="*/ 489689 w 675508"/>
                <a:gd name="connsiteY26" fmla="*/ 0 h 642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75508" h="642716">
                  <a:moveTo>
                    <a:pt x="489689" y="0"/>
                  </a:moveTo>
                  <a:lnTo>
                    <a:pt x="424106" y="0"/>
                  </a:lnTo>
                  <a:cubicBezTo>
                    <a:pt x="369453" y="0"/>
                    <a:pt x="343220" y="32792"/>
                    <a:pt x="334475" y="48094"/>
                  </a:cubicBezTo>
                  <a:cubicBezTo>
                    <a:pt x="323544" y="30606"/>
                    <a:pt x="297311" y="0"/>
                    <a:pt x="247031" y="0"/>
                  </a:cubicBezTo>
                  <a:lnTo>
                    <a:pt x="181447" y="0"/>
                  </a:lnTo>
                  <a:cubicBezTo>
                    <a:pt x="43722" y="0"/>
                    <a:pt x="0" y="26233"/>
                    <a:pt x="0" y="192378"/>
                  </a:cubicBezTo>
                  <a:lnTo>
                    <a:pt x="0" y="640531"/>
                  </a:lnTo>
                  <a:lnTo>
                    <a:pt x="135539" y="640531"/>
                  </a:lnTo>
                  <a:lnTo>
                    <a:pt x="135539" y="177075"/>
                  </a:lnTo>
                  <a:cubicBezTo>
                    <a:pt x="135539" y="163958"/>
                    <a:pt x="135539" y="157400"/>
                    <a:pt x="139911" y="155214"/>
                  </a:cubicBezTo>
                  <a:cubicBezTo>
                    <a:pt x="142097" y="153028"/>
                    <a:pt x="148655" y="150842"/>
                    <a:pt x="155214" y="150842"/>
                  </a:cubicBezTo>
                  <a:lnTo>
                    <a:pt x="249217" y="150842"/>
                  </a:lnTo>
                  <a:cubicBezTo>
                    <a:pt x="255775" y="150842"/>
                    <a:pt x="260147" y="150842"/>
                    <a:pt x="264519" y="155214"/>
                  </a:cubicBezTo>
                  <a:cubicBezTo>
                    <a:pt x="268892" y="159586"/>
                    <a:pt x="268892" y="163958"/>
                    <a:pt x="268892" y="179261"/>
                  </a:cubicBezTo>
                  <a:lnTo>
                    <a:pt x="268892" y="642717"/>
                  </a:lnTo>
                  <a:lnTo>
                    <a:pt x="268892" y="642717"/>
                  </a:lnTo>
                  <a:lnTo>
                    <a:pt x="406617" y="642717"/>
                  </a:lnTo>
                  <a:lnTo>
                    <a:pt x="406617" y="179261"/>
                  </a:lnTo>
                  <a:cubicBezTo>
                    <a:pt x="406617" y="166144"/>
                    <a:pt x="406617" y="159586"/>
                    <a:pt x="410989" y="155214"/>
                  </a:cubicBezTo>
                  <a:cubicBezTo>
                    <a:pt x="413175" y="153028"/>
                    <a:pt x="419734" y="150842"/>
                    <a:pt x="426292" y="150842"/>
                  </a:cubicBezTo>
                  <a:lnTo>
                    <a:pt x="520294" y="150842"/>
                  </a:lnTo>
                  <a:cubicBezTo>
                    <a:pt x="526853" y="150842"/>
                    <a:pt x="533411" y="150842"/>
                    <a:pt x="535597" y="155214"/>
                  </a:cubicBezTo>
                  <a:cubicBezTo>
                    <a:pt x="539970" y="159586"/>
                    <a:pt x="539970" y="163958"/>
                    <a:pt x="539970" y="177075"/>
                  </a:cubicBezTo>
                  <a:lnTo>
                    <a:pt x="539970" y="640531"/>
                  </a:lnTo>
                  <a:lnTo>
                    <a:pt x="675509" y="640531"/>
                  </a:lnTo>
                  <a:lnTo>
                    <a:pt x="675509" y="192378"/>
                  </a:lnTo>
                  <a:cubicBezTo>
                    <a:pt x="671136" y="26233"/>
                    <a:pt x="627414" y="0"/>
                    <a:pt x="489689" y="0"/>
                  </a:cubicBez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31" name="Bildplatzhalter 22">
            <a:extLst>
              <a:ext uri="{FF2B5EF4-FFF2-40B4-BE49-F238E27FC236}">
                <a16:creationId xmlns:a16="http://schemas.microsoft.com/office/drawing/2014/main" id="{62187646-A1C3-195A-E563-00757FF02CA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  <a:solidFill>
            <a:schemeClr val="bg1"/>
          </a:solidFill>
        </p:spPr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568338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unkel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4977EB5B-8228-C601-1176-E715BE9D4B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63493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77EB5B-8228-C601-1176-E715BE9D4B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50FCC40-B9BD-CC74-817B-4FE8B7ABC4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9" y="404813"/>
            <a:ext cx="11376024" cy="5772150"/>
          </a:xfrm>
        </p:spPr>
        <p:txBody>
          <a:bodyPr/>
          <a:lstStyle>
            <a:lvl1pPr marL="806450" indent="-806450">
              <a:spcBef>
                <a:spcPts val="0"/>
              </a:spcBef>
              <a:spcAft>
                <a:spcPts val="600"/>
              </a:spcAft>
              <a:buFontTx/>
              <a:buNone/>
              <a:defRPr sz="3500">
                <a:solidFill>
                  <a:schemeClr val="bg1"/>
                </a:solidFill>
              </a:defRPr>
            </a:lvl1pPr>
            <a:lvl2pPr marL="806450" indent="-806450">
              <a:spcBef>
                <a:spcPts val="0"/>
              </a:spcBef>
              <a:spcAft>
                <a:spcPts val="600"/>
              </a:spcAft>
              <a:buFontTx/>
              <a:buNone/>
              <a:defRPr sz="3500">
                <a:solidFill>
                  <a:schemeClr val="accent1"/>
                </a:solidFill>
              </a:defRPr>
            </a:lvl2pPr>
            <a:lvl3pPr marL="806450" indent="-806450">
              <a:spcBef>
                <a:spcPts val="0"/>
              </a:spcBef>
              <a:spcAft>
                <a:spcPts val="600"/>
              </a:spcAft>
              <a:buFontTx/>
              <a:buNone/>
              <a:defRPr sz="3500">
                <a:solidFill>
                  <a:schemeClr val="bg1"/>
                </a:solidFill>
              </a:defRPr>
            </a:lvl3pPr>
            <a:lvl4pPr marL="806450" indent="-806450">
              <a:spcBef>
                <a:spcPts val="0"/>
              </a:spcBef>
              <a:spcAft>
                <a:spcPts val="600"/>
              </a:spcAft>
              <a:buFontTx/>
              <a:buNone/>
              <a:defRPr sz="3500">
                <a:solidFill>
                  <a:schemeClr val="bg1"/>
                </a:solidFill>
              </a:defRPr>
            </a:lvl4pPr>
            <a:lvl5pPr marL="806450" indent="-806450">
              <a:spcBef>
                <a:spcPts val="0"/>
              </a:spcBef>
              <a:spcAft>
                <a:spcPts val="600"/>
              </a:spcAft>
              <a:buFontTx/>
              <a:buNone/>
              <a:defRPr sz="35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grpSp>
        <p:nvGrpSpPr>
          <p:cNvPr id="12" name="Grafik 23">
            <a:extLst>
              <a:ext uri="{FF2B5EF4-FFF2-40B4-BE49-F238E27FC236}">
                <a16:creationId xmlns:a16="http://schemas.microsoft.com/office/drawing/2014/main" id="{42B281DF-0E81-FBF7-D86A-123394EBB444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07989" y="6453187"/>
            <a:ext cx="918000" cy="158572"/>
            <a:chOff x="3042261" y="4495188"/>
            <a:chExt cx="3720761" cy="642716"/>
          </a:xfrm>
          <a:solidFill>
            <a:schemeClr val="bg1"/>
          </a:solidFill>
        </p:grpSpPr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A5299EDE-E8D1-3A63-C6B8-2700229E2DED}"/>
                </a:ext>
              </a:extLst>
            </p:cNvPr>
            <p:cNvSpPr/>
            <p:nvPr/>
          </p:nvSpPr>
          <p:spPr>
            <a:xfrm>
              <a:off x="3042261" y="4495188"/>
              <a:ext cx="450339" cy="638344"/>
            </a:xfrm>
            <a:custGeom>
              <a:avLst/>
              <a:gdLst>
                <a:gd name="connsiteX0" fmla="*/ 262333 w 450339"/>
                <a:gd name="connsiteY0" fmla="*/ 638345 h 638344"/>
                <a:gd name="connsiteX1" fmla="*/ 251403 w 450339"/>
                <a:gd name="connsiteY1" fmla="*/ 638345 h 638344"/>
                <a:gd name="connsiteX2" fmla="*/ 0 w 450339"/>
                <a:gd name="connsiteY2" fmla="*/ 638345 h 638344"/>
                <a:gd name="connsiteX3" fmla="*/ 0 w 450339"/>
                <a:gd name="connsiteY3" fmla="*/ 0 h 638344"/>
                <a:gd name="connsiteX4" fmla="*/ 266706 w 450339"/>
                <a:gd name="connsiteY4" fmla="*/ 0 h 638344"/>
                <a:gd name="connsiteX5" fmla="*/ 450339 w 450339"/>
                <a:gd name="connsiteY5" fmla="*/ 192378 h 638344"/>
                <a:gd name="connsiteX6" fmla="*/ 450339 w 450339"/>
                <a:gd name="connsiteY6" fmla="*/ 452525 h 638344"/>
                <a:gd name="connsiteX7" fmla="*/ 393500 w 450339"/>
                <a:gd name="connsiteY7" fmla="*/ 598995 h 638344"/>
                <a:gd name="connsiteX8" fmla="*/ 262333 w 450339"/>
                <a:gd name="connsiteY8" fmla="*/ 638345 h 638344"/>
                <a:gd name="connsiteX9" fmla="*/ 137725 w 450339"/>
                <a:gd name="connsiteY9" fmla="*/ 500620 h 638344"/>
                <a:gd name="connsiteX10" fmla="*/ 257961 w 450339"/>
                <a:gd name="connsiteY10" fmla="*/ 500620 h 638344"/>
                <a:gd name="connsiteX11" fmla="*/ 319172 w 450339"/>
                <a:gd name="connsiteY11" fmla="*/ 445967 h 638344"/>
                <a:gd name="connsiteX12" fmla="*/ 319172 w 450339"/>
                <a:gd name="connsiteY12" fmla="*/ 196750 h 638344"/>
                <a:gd name="connsiteX13" fmla="*/ 255775 w 450339"/>
                <a:gd name="connsiteY13" fmla="*/ 135539 h 638344"/>
                <a:gd name="connsiteX14" fmla="*/ 135539 w 450339"/>
                <a:gd name="connsiteY14" fmla="*/ 135539 h 638344"/>
                <a:gd name="connsiteX15" fmla="*/ 135539 w 450339"/>
                <a:gd name="connsiteY15" fmla="*/ 500620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0339" h="638344">
                  <a:moveTo>
                    <a:pt x="262333" y="638345"/>
                  </a:moveTo>
                  <a:cubicBezTo>
                    <a:pt x="257961" y="638345"/>
                    <a:pt x="255775" y="638345"/>
                    <a:pt x="251403" y="638345"/>
                  </a:cubicBezTo>
                  <a:lnTo>
                    <a:pt x="0" y="638345"/>
                  </a:lnTo>
                  <a:lnTo>
                    <a:pt x="0" y="0"/>
                  </a:lnTo>
                  <a:lnTo>
                    <a:pt x="266706" y="0"/>
                  </a:lnTo>
                  <a:cubicBezTo>
                    <a:pt x="391314" y="0"/>
                    <a:pt x="450339" y="61211"/>
                    <a:pt x="450339" y="192378"/>
                  </a:cubicBezTo>
                  <a:lnTo>
                    <a:pt x="450339" y="452525"/>
                  </a:lnTo>
                  <a:cubicBezTo>
                    <a:pt x="450339" y="518108"/>
                    <a:pt x="430664" y="566203"/>
                    <a:pt x="393500" y="598995"/>
                  </a:cubicBezTo>
                  <a:cubicBezTo>
                    <a:pt x="362895" y="625228"/>
                    <a:pt x="319172" y="638345"/>
                    <a:pt x="262333" y="638345"/>
                  </a:cubicBezTo>
                  <a:close/>
                  <a:moveTo>
                    <a:pt x="137725" y="500620"/>
                  </a:moveTo>
                  <a:lnTo>
                    <a:pt x="257961" y="500620"/>
                  </a:lnTo>
                  <a:cubicBezTo>
                    <a:pt x="288567" y="500620"/>
                    <a:pt x="314800" y="478758"/>
                    <a:pt x="319172" y="445967"/>
                  </a:cubicBezTo>
                  <a:lnTo>
                    <a:pt x="319172" y="196750"/>
                  </a:lnTo>
                  <a:cubicBezTo>
                    <a:pt x="319172" y="163958"/>
                    <a:pt x="290753" y="135539"/>
                    <a:pt x="255775" y="135539"/>
                  </a:cubicBezTo>
                  <a:lnTo>
                    <a:pt x="135539" y="135539"/>
                  </a:lnTo>
                  <a:lnTo>
                    <a:pt x="135539" y="500620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1EF5E381-C375-6101-B9A0-C1F80C792BBB}"/>
                </a:ext>
              </a:extLst>
            </p:cNvPr>
            <p:cNvSpPr/>
            <p:nvPr/>
          </p:nvSpPr>
          <p:spPr>
            <a:xfrm>
              <a:off x="3612836" y="4495188"/>
              <a:ext cx="461269" cy="638344"/>
            </a:xfrm>
            <a:custGeom>
              <a:avLst/>
              <a:gdLst>
                <a:gd name="connsiteX0" fmla="*/ 461269 w 461269"/>
                <a:gd name="connsiteY0" fmla="*/ 638345 h 638344"/>
                <a:gd name="connsiteX1" fmla="*/ 323544 w 461269"/>
                <a:gd name="connsiteY1" fmla="*/ 638345 h 638344"/>
                <a:gd name="connsiteX2" fmla="*/ 323544 w 461269"/>
                <a:gd name="connsiteY2" fmla="*/ 487503 h 638344"/>
                <a:gd name="connsiteX3" fmla="*/ 137725 w 461269"/>
                <a:gd name="connsiteY3" fmla="*/ 487503 h 638344"/>
                <a:gd name="connsiteX4" fmla="*/ 137725 w 461269"/>
                <a:gd name="connsiteY4" fmla="*/ 638345 h 638344"/>
                <a:gd name="connsiteX5" fmla="*/ 0 w 461269"/>
                <a:gd name="connsiteY5" fmla="*/ 638345 h 638344"/>
                <a:gd name="connsiteX6" fmla="*/ 0 w 461269"/>
                <a:gd name="connsiteY6" fmla="*/ 188006 h 638344"/>
                <a:gd name="connsiteX7" fmla="*/ 190192 w 461269"/>
                <a:gd name="connsiteY7" fmla="*/ 0 h 638344"/>
                <a:gd name="connsiteX8" fmla="*/ 268892 w 461269"/>
                <a:gd name="connsiteY8" fmla="*/ 0 h 638344"/>
                <a:gd name="connsiteX9" fmla="*/ 461269 w 461269"/>
                <a:gd name="connsiteY9" fmla="*/ 192378 h 638344"/>
                <a:gd name="connsiteX10" fmla="*/ 461269 w 461269"/>
                <a:gd name="connsiteY10" fmla="*/ 638345 h 638344"/>
                <a:gd name="connsiteX11" fmla="*/ 137725 w 461269"/>
                <a:gd name="connsiteY11" fmla="*/ 351964 h 638344"/>
                <a:gd name="connsiteX12" fmla="*/ 323544 w 461269"/>
                <a:gd name="connsiteY12" fmla="*/ 351964 h 638344"/>
                <a:gd name="connsiteX13" fmla="*/ 323544 w 461269"/>
                <a:gd name="connsiteY13" fmla="*/ 201122 h 638344"/>
                <a:gd name="connsiteX14" fmla="*/ 262333 w 461269"/>
                <a:gd name="connsiteY14" fmla="*/ 135539 h 638344"/>
                <a:gd name="connsiteX15" fmla="*/ 198936 w 461269"/>
                <a:gd name="connsiteY15" fmla="*/ 135539 h 638344"/>
                <a:gd name="connsiteX16" fmla="*/ 137725 w 461269"/>
                <a:gd name="connsiteY16" fmla="*/ 194564 h 638344"/>
                <a:gd name="connsiteX17" fmla="*/ 137725 w 461269"/>
                <a:gd name="connsiteY17" fmla="*/ 351964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61269" h="638344">
                  <a:moveTo>
                    <a:pt x="461269" y="638345"/>
                  </a:moveTo>
                  <a:lnTo>
                    <a:pt x="323544" y="638345"/>
                  </a:lnTo>
                  <a:lnTo>
                    <a:pt x="323544" y="487503"/>
                  </a:lnTo>
                  <a:lnTo>
                    <a:pt x="137725" y="487503"/>
                  </a:lnTo>
                  <a:lnTo>
                    <a:pt x="137725" y="638345"/>
                  </a:lnTo>
                  <a:lnTo>
                    <a:pt x="0" y="638345"/>
                  </a:lnTo>
                  <a:lnTo>
                    <a:pt x="0" y="188006"/>
                  </a:lnTo>
                  <a:cubicBezTo>
                    <a:pt x="0" y="61211"/>
                    <a:pt x="63397" y="0"/>
                    <a:pt x="190192" y="0"/>
                  </a:cubicBezTo>
                  <a:lnTo>
                    <a:pt x="268892" y="0"/>
                  </a:lnTo>
                  <a:cubicBezTo>
                    <a:pt x="397872" y="0"/>
                    <a:pt x="461269" y="63397"/>
                    <a:pt x="461269" y="192378"/>
                  </a:cubicBezTo>
                  <a:lnTo>
                    <a:pt x="461269" y="638345"/>
                  </a:lnTo>
                  <a:close/>
                  <a:moveTo>
                    <a:pt x="137725" y="351964"/>
                  </a:moveTo>
                  <a:lnTo>
                    <a:pt x="323544" y="351964"/>
                  </a:lnTo>
                  <a:lnTo>
                    <a:pt x="323544" y="201122"/>
                  </a:lnTo>
                  <a:cubicBezTo>
                    <a:pt x="323544" y="163958"/>
                    <a:pt x="295125" y="135539"/>
                    <a:pt x="262333" y="135539"/>
                  </a:cubicBezTo>
                  <a:lnTo>
                    <a:pt x="198936" y="135539"/>
                  </a:lnTo>
                  <a:cubicBezTo>
                    <a:pt x="163958" y="135539"/>
                    <a:pt x="137725" y="161772"/>
                    <a:pt x="137725" y="194564"/>
                  </a:cubicBezTo>
                  <a:lnTo>
                    <a:pt x="137725" y="351964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FE05E407-C6DF-08CC-4F3A-2CA60220EB7D}"/>
                </a:ext>
              </a:extLst>
            </p:cNvPr>
            <p:cNvSpPr/>
            <p:nvPr/>
          </p:nvSpPr>
          <p:spPr>
            <a:xfrm>
              <a:off x="4205272" y="4495188"/>
              <a:ext cx="327916" cy="638344"/>
            </a:xfrm>
            <a:custGeom>
              <a:avLst/>
              <a:gdLst>
                <a:gd name="connsiteX0" fmla="*/ 327917 w 327916"/>
                <a:gd name="connsiteY0" fmla="*/ 638345 h 638344"/>
                <a:gd name="connsiteX1" fmla="*/ 0 w 327916"/>
                <a:gd name="connsiteY1" fmla="*/ 638345 h 638344"/>
                <a:gd name="connsiteX2" fmla="*/ 0 w 327916"/>
                <a:gd name="connsiteY2" fmla="*/ 0 h 638344"/>
                <a:gd name="connsiteX3" fmla="*/ 137725 w 327916"/>
                <a:gd name="connsiteY3" fmla="*/ 0 h 638344"/>
                <a:gd name="connsiteX4" fmla="*/ 137725 w 327916"/>
                <a:gd name="connsiteY4" fmla="*/ 500620 h 638344"/>
                <a:gd name="connsiteX5" fmla="*/ 327917 w 327916"/>
                <a:gd name="connsiteY5" fmla="*/ 500620 h 638344"/>
                <a:gd name="connsiteX6" fmla="*/ 327917 w 327916"/>
                <a:gd name="connsiteY6" fmla="*/ 638345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7916" h="638344">
                  <a:moveTo>
                    <a:pt x="327917" y="638345"/>
                  </a:moveTo>
                  <a:lnTo>
                    <a:pt x="0" y="638345"/>
                  </a:lnTo>
                  <a:lnTo>
                    <a:pt x="0" y="0"/>
                  </a:lnTo>
                  <a:lnTo>
                    <a:pt x="137725" y="0"/>
                  </a:lnTo>
                  <a:lnTo>
                    <a:pt x="137725" y="500620"/>
                  </a:lnTo>
                  <a:lnTo>
                    <a:pt x="327917" y="500620"/>
                  </a:lnTo>
                  <a:lnTo>
                    <a:pt x="327917" y="638345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E1516811-FCE2-0660-666D-A2D732740889}"/>
                </a:ext>
              </a:extLst>
            </p:cNvPr>
            <p:cNvSpPr/>
            <p:nvPr/>
          </p:nvSpPr>
          <p:spPr>
            <a:xfrm>
              <a:off x="4627192" y="4495188"/>
              <a:ext cx="327916" cy="638344"/>
            </a:xfrm>
            <a:custGeom>
              <a:avLst/>
              <a:gdLst>
                <a:gd name="connsiteX0" fmla="*/ 325730 w 327916"/>
                <a:gd name="connsiteY0" fmla="*/ 638345 h 638344"/>
                <a:gd name="connsiteX1" fmla="*/ 0 w 327916"/>
                <a:gd name="connsiteY1" fmla="*/ 638345 h 638344"/>
                <a:gd name="connsiteX2" fmla="*/ 0 w 327916"/>
                <a:gd name="connsiteY2" fmla="*/ 0 h 638344"/>
                <a:gd name="connsiteX3" fmla="*/ 137725 w 327916"/>
                <a:gd name="connsiteY3" fmla="*/ 0 h 638344"/>
                <a:gd name="connsiteX4" fmla="*/ 137725 w 327916"/>
                <a:gd name="connsiteY4" fmla="*/ 500620 h 638344"/>
                <a:gd name="connsiteX5" fmla="*/ 327917 w 327916"/>
                <a:gd name="connsiteY5" fmla="*/ 500620 h 638344"/>
                <a:gd name="connsiteX6" fmla="*/ 327917 w 327916"/>
                <a:gd name="connsiteY6" fmla="*/ 638345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7916" h="638344">
                  <a:moveTo>
                    <a:pt x="325730" y="638345"/>
                  </a:moveTo>
                  <a:lnTo>
                    <a:pt x="0" y="638345"/>
                  </a:lnTo>
                  <a:lnTo>
                    <a:pt x="0" y="0"/>
                  </a:lnTo>
                  <a:lnTo>
                    <a:pt x="137725" y="0"/>
                  </a:lnTo>
                  <a:lnTo>
                    <a:pt x="137725" y="500620"/>
                  </a:lnTo>
                  <a:lnTo>
                    <a:pt x="327917" y="500620"/>
                  </a:lnTo>
                  <a:lnTo>
                    <a:pt x="327917" y="638345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3E398B7D-13B2-305A-4225-66B9B685EE4A}"/>
                </a:ext>
              </a:extLst>
            </p:cNvPr>
            <p:cNvSpPr/>
            <p:nvPr/>
          </p:nvSpPr>
          <p:spPr>
            <a:xfrm>
              <a:off x="5849228" y="4495188"/>
              <a:ext cx="349777" cy="638344"/>
            </a:xfrm>
            <a:custGeom>
              <a:avLst/>
              <a:gdLst>
                <a:gd name="connsiteX0" fmla="*/ 349778 w 349777"/>
                <a:gd name="connsiteY0" fmla="*/ 638345 h 638344"/>
                <a:gd name="connsiteX1" fmla="*/ 0 w 349777"/>
                <a:gd name="connsiteY1" fmla="*/ 638345 h 638344"/>
                <a:gd name="connsiteX2" fmla="*/ 0 w 349777"/>
                <a:gd name="connsiteY2" fmla="*/ 0 h 638344"/>
                <a:gd name="connsiteX3" fmla="*/ 349778 w 349777"/>
                <a:gd name="connsiteY3" fmla="*/ 0 h 638344"/>
                <a:gd name="connsiteX4" fmla="*/ 349778 w 349777"/>
                <a:gd name="connsiteY4" fmla="*/ 137725 h 638344"/>
                <a:gd name="connsiteX5" fmla="*/ 137725 w 349777"/>
                <a:gd name="connsiteY5" fmla="*/ 137725 h 638344"/>
                <a:gd name="connsiteX6" fmla="*/ 137725 w 349777"/>
                <a:gd name="connsiteY6" fmla="*/ 251403 h 638344"/>
                <a:gd name="connsiteX7" fmla="*/ 349778 w 349777"/>
                <a:gd name="connsiteY7" fmla="*/ 251403 h 638344"/>
                <a:gd name="connsiteX8" fmla="*/ 349778 w 349777"/>
                <a:gd name="connsiteY8" fmla="*/ 389128 h 638344"/>
                <a:gd name="connsiteX9" fmla="*/ 137725 w 349777"/>
                <a:gd name="connsiteY9" fmla="*/ 389128 h 638344"/>
                <a:gd name="connsiteX10" fmla="*/ 137725 w 349777"/>
                <a:gd name="connsiteY10" fmla="*/ 500620 h 638344"/>
                <a:gd name="connsiteX11" fmla="*/ 349778 w 349777"/>
                <a:gd name="connsiteY11" fmla="*/ 500620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49777" h="638344">
                  <a:moveTo>
                    <a:pt x="349778" y="638345"/>
                  </a:moveTo>
                  <a:lnTo>
                    <a:pt x="0" y="638345"/>
                  </a:lnTo>
                  <a:lnTo>
                    <a:pt x="0" y="0"/>
                  </a:lnTo>
                  <a:lnTo>
                    <a:pt x="349778" y="0"/>
                  </a:lnTo>
                  <a:lnTo>
                    <a:pt x="349778" y="137725"/>
                  </a:lnTo>
                  <a:lnTo>
                    <a:pt x="137725" y="137725"/>
                  </a:lnTo>
                  <a:lnTo>
                    <a:pt x="137725" y="251403"/>
                  </a:lnTo>
                  <a:lnTo>
                    <a:pt x="349778" y="251403"/>
                  </a:lnTo>
                  <a:lnTo>
                    <a:pt x="349778" y="389128"/>
                  </a:lnTo>
                  <a:lnTo>
                    <a:pt x="137725" y="389128"/>
                  </a:lnTo>
                  <a:lnTo>
                    <a:pt x="137725" y="500620"/>
                  </a:lnTo>
                  <a:lnTo>
                    <a:pt x="349778" y="500620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39672878-1605-C083-EE32-74BE4AC292B1}"/>
                </a:ext>
              </a:extLst>
            </p:cNvPr>
            <p:cNvSpPr/>
            <p:nvPr/>
          </p:nvSpPr>
          <p:spPr>
            <a:xfrm>
              <a:off x="6321428" y="4495188"/>
              <a:ext cx="441594" cy="638344"/>
            </a:xfrm>
            <a:custGeom>
              <a:avLst/>
              <a:gdLst>
                <a:gd name="connsiteX0" fmla="*/ 439408 w 441594"/>
                <a:gd name="connsiteY0" fmla="*/ 450339 h 638344"/>
                <a:gd name="connsiteX1" fmla="*/ 391314 w 441594"/>
                <a:gd name="connsiteY1" fmla="*/ 360708 h 638344"/>
                <a:gd name="connsiteX2" fmla="*/ 439408 w 441594"/>
                <a:gd name="connsiteY2" fmla="*/ 273264 h 638344"/>
                <a:gd name="connsiteX3" fmla="*/ 439408 w 441594"/>
                <a:gd name="connsiteY3" fmla="*/ 179261 h 638344"/>
                <a:gd name="connsiteX4" fmla="*/ 266706 w 441594"/>
                <a:gd name="connsiteY4" fmla="*/ 0 h 638344"/>
                <a:gd name="connsiteX5" fmla="*/ 0 w 441594"/>
                <a:gd name="connsiteY5" fmla="*/ 0 h 638344"/>
                <a:gd name="connsiteX6" fmla="*/ 0 w 441594"/>
                <a:gd name="connsiteY6" fmla="*/ 638345 h 638344"/>
                <a:gd name="connsiteX7" fmla="*/ 137725 w 441594"/>
                <a:gd name="connsiteY7" fmla="*/ 638345 h 638344"/>
                <a:gd name="connsiteX8" fmla="*/ 137725 w 441594"/>
                <a:gd name="connsiteY8" fmla="*/ 435036 h 638344"/>
                <a:gd name="connsiteX9" fmla="*/ 251403 w 441594"/>
                <a:gd name="connsiteY9" fmla="*/ 435036 h 638344"/>
                <a:gd name="connsiteX10" fmla="*/ 314800 w 441594"/>
                <a:gd name="connsiteY10" fmla="*/ 500620 h 638344"/>
                <a:gd name="connsiteX11" fmla="*/ 314800 w 441594"/>
                <a:gd name="connsiteY11" fmla="*/ 638345 h 638344"/>
                <a:gd name="connsiteX12" fmla="*/ 441594 w 441594"/>
                <a:gd name="connsiteY12" fmla="*/ 638345 h 638344"/>
                <a:gd name="connsiteX13" fmla="*/ 439408 w 441594"/>
                <a:gd name="connsiteY13" fmla="*/ 450339 h 638344"/>
                <a:gd name="connsiteX14" fmla="*/ 312614 w 441594"/>
                <a:gd name="connsiteY14" fmla="*/ 244844 h 638344"/>
                <a:gd name="connsiteX15" fmla="*/ 251403 w 441594"/>
                <a:gd name="connsiteY15" fmla="*/ 306056 h 638344"/>
                <a:gd name="connsiteX16" fmla="*/ 137725 w 441594"/>
                <a:gd name="connsiteY16" fmla="*/ 306056 h 638344"/>
                <a:gd name="connsiteX17" fmla="*/ 137725 w 441594"/>
                <a:gd name="connsiteY17" fmla="*/ 135539 h 638344"/>
                <a:gd name="connsiteX18" fmla="*/ 251403 w 441594"/>
                <a:gd name="connsiteY18" fmla="*/ 135539 h 638344"/>
                <a:gd name="connsiteX19" fmla="*/ 314800 w 441594"/>
                <a:gd name="connsiteY19" fmla="*/ 196750 h 638344"/>
                <a:gd name="connsiteX20" fmla="*/ 314800 w 441594"/>
                <a:gd name="connsiteY20" fmla="*/ 244844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41594" h="638344">
                  <a:moveTo>
                    <a:pt x="439408" y="450339"/>
                  </a:moveTo>
                  <a:cubicBezTo>
                    <a:pt x="439408" y="395686"/>
                    <a:pt x="406617" y="369453"/>
                    <a:pt x="391314" y="360708"/>
                  </a:cubicBezTo>
                  <a:cubicBezTo>
                    <a:pt x="408803" y="349778"/>
                    <a:pt x="439408" y="323545"/>
                    <a:pt x="439408" y="273264"/>
                  </a:cubicBezTo>
                  <a:cubicBezTo>
                    <a:pt x="439408" y="238286"/>
                    <a:pt x="439408" y="179261"/>
                    <a:pt x="439408" y="179261"/>
                  </a:cubicBezTo>
                  <a:cubicBezTo>
                    <a:pt x="439408" y="26233"/>
                    <a:pt x="384755" y="0"/>
                    <a:pt x="266706" y="0"/>
                  </a:cubicBezTo>
                  <a:lnTo>
                    <a:pt x="0" y="0"/>
                  </a:lnTo>
                  <a:lnTo>
                    <a:pt x="0" y="638345"/>
                  </a:lnTo>
                  <a:lnTo>
                    <a:pt x="137725" y="638345"/>
                  </a:lnTo>
                  <a:lnTo>
                    <a:pt x="137725" y="435036"/>
                  </a:lnTo>
                  <a:lnTo>
                    <a:pt x="251403" y="435036"/>
                  </a:lnTo>
                  <a:cubicBezTo>
                    <a:pt x="301683" y="435036"/>
                    <a:pt x="314800" y="459083"/>
                    <a:pt x="314800" y="500620"/>
                  </a:cubicBezTo>
                  <a:lnTo>
                    <a:pt x="314800" y="638345"/>
                  </a:lnTo>
                  <a:lnTo>
                    <a:pt x="441594" y="638345"/>
                  </a:lnTo>
                  <a:lnTo>
                    <a:pt x="439408" y="450339"/>
                  </a:lnTo>
                  <a:close/>
                  <a:moveTo>
                    <a:pt x="312614" y="244844"/>
                  </a:moveTo>
                  <a:cubicBezTo>
                    <a:pt x="312614" y="277636"/>
                    <a:pt x="284195" y="306056"/>
                    <a:pt x="251403" y="306056"/>
                  </a:cubicBezTo>
                  <a:lnTo>
                    <a:pt x="137725" y="306056"/>
                  </a:lnTo>
                  <a:lnTo>
                    <a:pt x="137725" y="135539"/>
                  </a:lnTo>
                  <a:lnTo>
                    <a:pt x="251403" y="135539"/>
                  </a:lnTo>
                  <a:cubicBezTo>
                    <a:pt x="290753" y="135539"/>
                    <a:pt x="314800" y="166144"/>
                    <a:pt x="314800" y="196750"/>
                  </a:cubicBezTo>
                  <a:lnTo>
                    <a:pt x="314800" y="244844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B5FC74D8-4B15-4212-19F6-68E4D1C9A504}"/>
                </a:ext>
              </a:extLst>
            </p:cNvPr>
            <p:cNvSpPr/>
            <p:nvPr/>
          </p:nvSpPr>
          <p:spPr>
            <a:xfrm>
              <a:off x="5055670" y="4495188"/>
              <a:ext cx="675508" cy="642716"/>
            </a:xfrm>
            <a:custGeom>
              <a:avLst/>
              <a:gdLst>
                <a:gd name="connsiteX0" fmla="*/ 489689 w 675508"/>
                <a:gd name="connsiteY0" fmla="*/ 0 h 642716"/>
                <a:gd name="connsiteX1" fmla="*/ 424106 w 675508"/>
                <a:gd name="connsiteY1" fmla="*/ 0 h 642716"/>
                <a:gd name="connsiteX2" fmla="*/ 334475 w 675508"/>
                <a:gd name="connsiteY2" fmla="*/ 48094 h 642716"/>
                <a:gd name="connsiteX3" fmla="*/ 247031 w 675508"/>
                <a:gd name="connsiteY3" fmla="*/ 0 h 642716"/>
                <a:gd name="connsiteX4" fmla="*/ 181447 w 675508"/>
                <a:gd name="connsiteY4" fmla="*/ 0 h 642716"/>
                <a:gd name="connsiteX5" fmla="*/ 0 w 675508"/>
                <a:gd name="connsiteY5" fmla="*/ 192378 h 642716"/>
                <a:gd name="connsiteX6" fmla="*/ 0 w 675508"/>
                <a:gd name="connsiteY6" fmla="*/ 640531 h 642716"/>
                <a:gd name="connsiteX7" fmla="*/ 135539 w 675508"/>
                <a:gd name="connsiteY7" fmla="*/ 640531 h 642716"/>
                <a:gd name="connsiteX8" fmla="*/ 135539 w 675508"/>
                <a:gd name="connsiteY8" fmla="*/ 177075 h 642716"/>
                <a:gd name="connsiteX9" fmla="*/ 139911 w 675508"/>
                <a:gd name="connsiteY9" fmla="*/ 155214 h 642716"/>
                <a:gd name="connsiteX10" fmla="*/ 155214 w 675508"/>
                <a:gd name="connsiteY10" fmla="*/ 150842 h 642716"/>
                <a:gd name="connsiteX11" fmla="*/ 249217 w 675508"/>
                <a:gd name="connsiteY11" fmla="*/ 150842 h 642716"/>
                <a:gd name="connsiteX12" fmla="*/ 264519 w 675508"/>
                <a:gd name="connsiteY12" fmla="*/ 155214 h 642716"/>
                <a:gd name="connsiteX13" fmla="*/ 268892 w 675508"/>
                <a:gd name="connsiteY13" fmla="*/ 179261 h 642716"/>
                <a:gd name="connsiteX14" fmla="*/ 268892 w 675508"/>
                <a:gd name="connsiteY14" fmla="*/ 642717 h 642716"/>
                <a:gd name="connsiteX15" fmla="*/ 268892 w 675508"/>
                <a:gd name="connsiteY15" fmla="*/ 642717 h 642716"/>
                <a:gd name="connsiteX16" fmla="*/ 406617 w 675508"/>
                <a:gd name="connsiteY16" fmla="*/ 642717 h 642716"/>
                <a:gd name="connsiteX17" fmla="*/ 406617 w 675508"/>
                <a:gd name="connsiteY17" fmla="*/ 179261 h 642716"/>
                <a:gd name="connsiteX18" fmla="*/ 410989 w 675508"/>
                <a:gd name="connsiteY18" fmla="*/ 155214 h 642716"/>
                <a:gd name="connsiteX19" fmla="*/ 426292 w 675508"/>
                <a:gd name="connsiteY19" fmla="*/ 150842 h 642716"/>
                <a:gd name="connsiteX20" fmla="*/ 520294 w 675508"/>
                <a:gd name="connsiteY20" fmla="*/ 150842 h 642716"/>
                <a:gd name="connsiteX21" fmla="*/ 535597 w 675508"/>
                <a:gd name="connsiteY21" fmla="*/ 155214 h 642716"/>
                <a:gd name="connsiteX22" fmla="*/ 539970 w 675508"/>
                <a:gd name="connsiteY22" fmla="*/ 177075 h 642716"/>
                <a:gd name="connsiteX23" fmla="*/ 539970 w 675508"/>
                <a:gd name="connsiteY23" fmla="*/ 640531 h 642716"/>
                <a:gd name="connsiteX24" fmla="*/ 675509 w 675508"/>
                <a:gd name="connsiteY24" fmla="*/ 640531 h 642716"/>
                <a:gd name="connsiteX25" fmla="*/ 675509 w 675508"/>
                <a:gd name="connsiteY25" fmla="*/ 192378 h 642716"/>
                <a:gd name="connsiteX26" fmla="*/ 489689 w 675508"/>
                <a:gd name="connsiteY26" fmla="*/ 0 h 642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75508" h="642716">
                  <a:moveTo>
                    <a:pt x="489689" y="0"/>
                  </a:moveTo>
                  <a:lnTo>
                    <a:pt x="424106" y="0"/>
                  </a:lnTo>
                  <a:cubicBezTo>
                    <a:pt x="369453" y="0"/>
                    <a:pt x="343220" y="32792"/>
                    <a:pt x="334475" y="48094"/>
                  </a:cubicBezTo>
                  <a:cubicBezTo>
                    <a:pt x="323544" y="30606"/>
                    <a:pt x="297311" y="0"/>
                    <a:pt x="247031" y="0"/>
                  </a:cubicBezTo>
                  <a:lnTo>
                    <a:pt x="181447" y="0"/>
                  </a:lnTo>
                  <a:cubicBezTo>
                    <a:pt x="43722" y="0"/>
                    <a:pt x="0" y="26233"/>
                    <a:pt x="0" y="192378"/>
                  </a:cubicBezTo>
                  <a:lnTo>
                    <a:pt x="0" y="640531"/>
                  </a:lnTo>
                  <a:lnTo>
                    <a:pt x="135539" y="640531"/>
                  </a:lnTo>
                  <a:lnTo>
                    <a:pt x="135539" y="177075"/>
                  </a:lnTo>
                  <a:cubicBezTo>
                    <a:pt x="135539" y="163958"/>
                    <a:pt x="135539" y="157400"/>
                    <a:pt x="139911" y="155214"/>
                  </a:cubicBezTo>
                  <a:cubicBezTo>
                    <a:pt x="142097" y="153028"/>
                    <a:pt x="148655" y="150842"/>
                    <a:pt x="155214" y="150842"/>
                  </a:cubicBezTo>
                  <a:lnTo>
                    <a:pt x="249217" y="150842"/>
                  </a:lnTo>
                  <a:cubicBezTo>
                    <a:pt x="255775" y="150842"/>
                    <a:pt x="260147" y="150842"/>
                    <a:pt x="264519" y="155214"/>
                  </a:cubicBezTo>
                  <a:cubicBezTo>
                    <a:pt x="268892" y="159586"/>
                    <a:pt x="268892" y="163958"/>
                    <a:pt x="268892" y="179261"/>
                  </a:cubicBezTo>
                  <a:lnTo>
                    <a:pt x="268892" y="642717"/>
                  </a:lnTo>
                  <a:lnTo>
                    <a:pt x="268892" y="642717"/>
                  </a:lnTo>
                  <a:lnTo>
                    <a:pt x="406617" y="642717"/>
                  </a:lnTo>
                  <a:lnTo>
                    <a:pt x="406617" y="179261"/>
                  </a:lnTo>
                  <a:cubicBezTo>
                    <a:pt x="406617" y="166144"/>
                    <a:pt x="406617" y="159586"/>
                    <a:pt x="410989" y="155214"/>
                  </a:cubicBezTo>
                  <a:cubicBezTo>
                    <a:pt x="413175" y="153028"/>
                    <a:pt x="419734" y="150842"/>
                    <a:pt x="426292" y="150842"/>
                  </a:cubicBezTo>
                  <a:lnTo>
                    <a:pt x="520294" y="150842"/>
                  </a:lnTo>
                  <a:cubicBezTo>
                    <a:pt x="526853" y="150842"/>
                    <a:pt x="533411" y="150842"/>
                    <a:pt x="535597" y="155214"/>
                  </a:cubicBezTo>
                  <a:cubicBezTo>
                    <a:pt x="539970" y="159586"/>
                    <a:pt x="539970" y="163958"/>
                    <a:pt x="539970" y="177075"/>
                  </a:cubicBezTo>
                  <a:lnTo>
                    <a:pt x="539970" y="640531"/>
                  </a:lnTo>
                  <a:lnTo>
                    <a:pt x="675509" y="640531"/>
                  </a:lnTo>
                  <a:lnTo>
                    <a:pt x="675509" y="192378"/>
                  </a:lnTo>
                  <a:cubicBezTo>
                    <a:pt x="671136" y="26233"/>
                    <a:pt x="627414" y="0"/>
                    <a:pt x="489689" y="0"/>
                  </a:cubicBez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912F03A-E39C-E683-E858-F86B1B9E00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3/18/2024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07F22B3-5636-6464-4865-6D0E3C5335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Fußzeile über Menü Einfügen-&gt; Kopf- und Fußzeile 'Für alle übernehmen'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002063C-981A-23CB-2A93-F6BA60F092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eite </a:t>
            </a:r>
            <a:fld id="{63A738E5-7FE5-4F0E-80D4-9B95A408A0C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011530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4977EB5B-8228-C601-1176-E715BE9D4B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12785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77EB5B-8228-C601-1176-E715BE9D4B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50FCC40-B9BD-CC74-817B-4FE8B7ABC4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9" y="404813"/>
            <a:ext cx="11376024" cy="5772150"/>
          </a:xfrm>
        </p:spPr>
        <p:txBody>
          <a:bodyPr/>
          <a:lstStyle>
            <a:lvl1pPr marL="806450" indent="-806450">
              <a:spcBef>
                <a:spcPts val="0"/>
              </a:spcBef>
              <a:spcAft>
                <a:spcPts val="600"/>
              </a:spcAft>
              <a:buFontTx/>
              <a:buNone/>
              <a:defRPr sz="3500">
                <a:solidFill>
                  <a:schemeClr val="tx1"/>
                </a:solidFill>
              </a:defRPr>
            </a:lvl1pPr>
            <a:lvl2pPr marL="806450" indent="-806450">
              <a:spcBef>
                <a:spcPts val="0"/>
              </a:spcBef>
              <a:spcAft>
                <a:spcPts val="600"/>
              </a:spcAft>
              <a:buFontTx/>
              <a:buNone/>
              <a:defRPr sz="3500">
                <a:solidFill>
                  <a:schemeClr val="accent1"/>
                </a:solidFill>
              </a:defRPr>
            </a:lvl2pPr>
            <a:lvl3pPr marL="806450" indent="-806450">
              <a:spcBef>
                <a:spcPts val="0"/>
              </a:spcBef>
              <a:spcAft>
                <a:spcPts val="600"/>
              </a:spcAft>
              <a:buFontTx/>
              <a:buNone/>
              <a:tabLst>
                <a:tab pos="1970088" algn="l"/>
              </a:tabLst>
              <a:defRPr sz="3500">
                <a:solidFill>
                  <a:schemeClr val="tx1"/>
                </a:solidFill>
              </a:defRPr>
            </a:lvl3pPr>
            <a:lvl4pPr marL="806450" indent="-806450">
              <a:spcBef>
                <a:spcPts val="0"/>
              </a:spcBef>
              <a:spcAft>
                <a:spcPts val="600"/>
              </a:spcAft>
              <a:buFontTx/>
              <a:buNone/>
              <a:tabLst>
                <a:tab pos="1970088" algn="l"/>
              </a:tabLst>
              <a:defRPr sz="3500">
                <a:solidFill>
                  <a:schemeClr val="tx1"/>
                </a:solidFill>
              </a:defRPr>
            </a:lvl4pPr>
            <a:lvl5pPr marL="806450" indent="-806450">
              <a:spcBef>
                <a:spcPts val="0"/>
              </a:spcBef>
              <a:spcAft>
                <a:spcPts val="600"/>
              </a:spcAft>
              <a:buFontTx/>
              <a:buNone/>
              <a:tabLst>
                <a:tab pos="1970088" algn="l"/>
              </a:tabLst>
              <a:defRPr sz="35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2982C96-07FC-4385-5D0D-49665F9278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3/18/2024</a:t>
            </a:r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E55BFC90-C6B1-7999-78DB-FF625BA835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ußzeile über Menü Einfügen-&gt; Kopf- und Fußzeile 'Für alle übernehmen'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5F254D63-24A7-3D22-2C52-9450086CDD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Seite </a:t>
            </a:r>
            <a:fld id="{63A738E5-7FE5-4F0E-80D4-9B95A408A0C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730261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4977EB5B-8228-C601-1176-E715BE9D4B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90502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F3D29DB-C29F-7E03-7D11-D8E722D7D8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90" y="404813"/>
            <a:ext cx="11376024" cy="415498"/>
          </a:xfrm>
        </p:spPr>
        <p:txBody>
          <a:bodyPr vert="horz"/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50FCC40-B9BD-CC74-817B-4FE8B7ABC4E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2982C96-07FC-4385-5D0D-49665F9278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3/18/2024</a:t>
            </a:r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E55BFC90-C6B1-7999-78DB-FF625BA835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ußzeile über Menü Einfügen-&gt; Kopf- und Fußzeile 'Für alle übernehmen'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5F254D63-24A7-3D22-2C52-9450086CDD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Seite </a:t>
            </a:r>
            <a:fld id="{63A738E5-7FE5-4F0E-80D4-9B95A408A0C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565371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776156B-F280-BB3C-B842-C614C76463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80916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CC8F393-2D7B-6D19-5155-C216F9EB9C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5FAC815C-C4FD-2740-8B52-BB05F7C4BF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3/18/2024</a:t>
            </a:r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E40BEA59-9BB3-5559-EF17-D7C7237D61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ußzeile über Menü Einfügen-&gt; Kopf- und Fußzeile 'Für alle übernehmen'</a:t>
            </a:r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E9652B59-D1C8-A7CD-3CCF-17F6C41D2B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Seite </a:t>
            </a:r>
            <a:fld id="{63A738E5-7FE5-4F0E-80D4-9B95A408A0C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3134061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hell+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4977EB5B-8228-C601-1176-E715BE9D4B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45947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77EB5B-8228-C601-1176-E715BE9D4B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F3D29DB-C29F-7E03-7D11-D8E722D7D8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90" y="404813"/>
            <a:ext cx="5328009" cy="415498"/>
          </a:xfrm>
        </p:spPr>
        <p:txBody>
          <a:bodyPr vert="horz"/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50FCC40-B9BD-CC74-817B-4FE8B7ABC4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90" y="2060847"/>
            <a:ext cx="5328009" cy="4116115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Bildplatzhalter 22">
            <a:extLst>
              <a:ext uri="{FF2B5EF4-FFF2-40B4-BE49-F238E27FC236}">
                <a16:creationId xmlns:a16="http://schemas.microsoft.com/office/drawing/2014/main" id="{0CCE803F-76E1-51EF-2D37-8BB55EF492E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  <a:solidFill>
            <a:schemeClr val="tx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48160838-16FC-145C-39CA-83F1101FBC9C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3/18/2024</a:t>
            </a:r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8EE8913-A495-FC86-109A-4C4FB9AC8C3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Fußzeile über Menü Einfügen-&gt; Kopf- und Fußzeile 'Für alle übernehmen'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78B6877D-9AD0-EBC6-8232-5DD7BD838D7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eite </a:t>
            </a:r>
            <a:fld id="{63A738E5-7FE5-4F0E-80D4-9B95A408A0C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531119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dunkel+Bild recht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4977EB5B-8228-C601-1176-E715BE9D4B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551421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77EB5B-8228-C601-1176-E715BE9D4B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F3D29DB-C29F-7E03-7D11-D8E722D7D8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90" y="404813"/>
            <a:ext cx="5328009" cy="415498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50FCC40-B9BD-CC74-817B-4FE8B7ABC4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90" y="2060847"/>
            <a:ext cx="5328009" cy="411611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Bildplatzhalter 22">
            <a:extLst>
              <a:ext uri="{FF2B5EF4-FFF2-40B4-BE49-F238E27FC236}">
                <a16:creationId xmlns:a16="http://schemas.microsoft.com/office/drawing/2014/main" id="{0CCE803F-76E1-51EF-2D37-8BB55EF492E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  <a:solidFill>
            <a:schemeClr val="tx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grpSp>
        <p:nvGrpSpPr>
          <p:cNvPr id="6" name="Grafik 23">
            <a:extLst>
              <a:ext uri="{FF2B5EF4-FFF2-40B4-BE49-F238E27FC236}">
                <a16:creationId xmlns:a16="http://schemas.microsoft.com/office/drawing/2014/main" id="{E12EA9DF-0503-8AB7-98BD-A22FECBF6EF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07989" y="6453187"/>
            <a:ext cx="918000" cy="158572"/>
            <a:chOff x="3042261" y="4495188"/>
            <a:chExt cx="3720761" cy="642716"/>
          </a:xfrm>
          <a:solidFill>
            <a:schemeClr val="bg1"/>
          </a:solidFill>
        </p:grpSpPr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id="{F96E6D4A-14FA-8D5A-C3C3-71629B9D7262}"/>
                </a:ext>
              </a:extLst>
            </p:cNvPr>
            <p:cNvSpPr/>
            <p:nvPr/>
          </p:nvSpPr>
          <p:spPr>
            <a:xfrm>
              <a:off x="3042261" y="4495188"/>
              <a:ext cx="450339" cy="638344"/>
            </a:xfrm>
            <a:custGeom>
              <a:avLst/>
              <a:gdLst>
                <a:gd name="connsiteX0" fmla="*/ 262333 w 450339"/>
                <a:gd name="connsiteY0" fmla="*/ 638345 h 638344"/>
                <a:gd name="connsiteX1" fmla="*/ 251403 w 450339"/>
                <a:gd name="connsiteY1" fmla="*/ 638345 h 638344"/>
                <a:gd name="connsiteX2" fmla="*/ 0 w 450339"/>
                <a:gd name="connsiteY2" fmla="*/ 638345 h 638344"/>
                <a:gd name="connsiteX3" fmla="*/ 0 w 450339"/>
                <a:gd name="connsiteY3" fmla="*/ 0 h 638344"/>
                <a:gd name="connsiteX4" fmla="*/ 266706 w 450339"/>
                <a:gd name="connsiteY4" fmla="*/ 0 h 638344"/>
                <a:gd name="connsiteX5" fmla="*/ 450339 w 450339"/>
                <a:gd name="connsiteY5" fmla="*/ 192378 h 638344"/>
                <a:gd name="connsiteX6" fmla="*/ 450339 w 450339"/>
                <a:gd name="connsiteY6" fmla="*/ 452525 h 638344"/>
                <a:gd name="connsiteX7" fmla="*/ 393500 w 450339"/>
                <a:gd name="connsiteY7" fmla="*/ 598995 h 638344"/>
                <a:gd name="connsiteX8" fmla="*/ 262333 w 450339"/>
                <a:gd name="connsiteY8" fmla="*/ 638345 h 638344"/>
                <a:gd name="connsiteX9" fmla="*/ 137725 w 450339"/>
                <a:gd name="connsiteY9" fmla="*/ 500620 h 638344"/>
                <a:gd name="connsiteX10" fmla="*/ 257961 w 450339"/>
                <a:gd name="connsiteY10" fmla="*/ 500620 h 638344"/>
                <a:gd name="connsiteX11" fmla="*/ 319172 w 450339"/>
                <a:gd name="connsiteY11" fmla="*/ 445967 h 638344"/>
                <a:gd name="connsiteX12" fmla="*/ 319172 w 450339"/>
                <a:gd name="connsiteY12" fmla="*/ 196750 h 638344"/>
                <a:gd name="connsiteX13" fmla="*/ 255775 w 450339"/>
                <a:gd name="connsiteY13" fmla="*/ 135539 h 638344"/>
                <a:gd name="connsiteX14" fmla="*/ 135539 w 450339"/>
                <a:gd name="connsiteY14" fmla="*/ 135539 h 638344"/>
                <a:gd name="connsiteX15" fmla="*/ 135539 w 450339"/>
                <a:gd name="connsiteY15" fmla="*/ 500620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0339" h="638344">
                  <a:moveTo>
                    <a:pt x="262333" y="638345"/>
                  </a:moveTo>
                  <a:cubicBezTo>
                    <a:pt x="257961" y="638345"/>
                    <a:pt x="255775" y="638345"/>
                    <a:pt x="251403" y="638345"/>
                  </a:cubicBezTo>
                  <a:lnTo>
                    <a:pt x="0" y="638345"/>
                  </a:lnTo>
                  <a:lnTo>
                    <a:pt x="0" y="0"/>
                  </a:lnTo>
                  <a:lnTo>
                    <a:pt x="266706" y="0"/>
                  </a:lnTo>
                  <a:cubicBezTo>
                    <a:pt x="391314" y="0"/>
                    <a:pt x="450339" y="61211"/>
                    <a:pt x="450339" y="192378"/>
                  </a:cubicBezTo>
                  <a:lnTo>
                    <a:pt x="450339" y="452525"/>
                  </a:lnTo>
                  <a:cubicBezTo>
                    <a:pt x="450339" y="518108"/>
                    <a:pt x="430664" y="566203"/>
                    <a:pt x="393500" y="598995"/>
                  </a:cubicBezTo>
                  <a:cubicBezTo>
                    <a:pt x="362895" y="625228"/>
                    <a:pt x="319172" y="638345"/>
                    <a:pt x="262333" y="638345"/>
                  </a:cubicBezTo>
                  <a:close/>
                  <a:moveTo>
                    <a:pt x="137725" y="500620"/>
                  </a:moveTo>
                  <a:lnTo>
                    <a:pt x="257961" y="500620"/>
                  </a:lnTo>
                  <a:cubicBezTo>
                    <a:pt x="288567" y="500620"/>
                    <a:pt x="314800" y="478758"/>
                    <a:pt x="319172" y="445967"/>
                  </a:cubicBezTo>
                  <a:lnTo>
                    <a:pt x="319172" y="196750"/>
                  </a:lnTo>
                  <a:cubicBezTo>
                    <a:pt x="319172" y="163958"/>
                    <a:pt x="290753" y="135539"/>
                    <a:pt x="255775" y="135539"/>
                  </a:cubicBezTo>
                  <a:lnTo>
                    <a:pt x="135539" y="135539"/>
                  </a:lnTo>
                  <a:lnTo>
                    <a:pt x="135539" y="500620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66E460CC-F1A0-35EE-BAB5-DBE00E25E3BF}"/>
                </a:ext>
              </a:extLst>
            </p:cNvPr>
            <p:cNvSpPr/>
            <p:nvPr/>
          </p:nvSpPr>
          <p:spPr>
            <a:xfrm>
              <a:off x="3612836" y="4495188"/>
              <a:ext cx="461269" cy="638344"/>
            </a:xfrm>
            <a:custGeom>
              <a:avLst/>
              <a:gdLst>
                <a:gd name="connsiteX0" fmla="*/ 461269 w 461269"/>
                <a:gd name="connsiteY0" fmla="*/ 638345 h 638344"/>
                <a:gd name="connsiteX1" fmla="*/ 323544 w 461269"/>
                <a:gd name="connsiteY1" fmla="*/ 638345 h 638344"/>
                <a:gd name="connsiteX2" fmla="*/ 323544 w 461269"/>
                <a:gd name="connsiteY2" fmla="*/ 487503 h 638344"/>
                <a:gd name="connsiteX3" fmla="*/ 137725 w 461269"/>
                <a:gd name="connsiteY3" fmla="*/ 487503 h 638344"/>
                <a:gd name="connsiteX4" fmla="*/ 137725 w 461269"/>
                <a:gd name="connsiteY4" fmla="*/ 638345 h 638344"/>
                <a:gd name="connsiteX5" fmla="*/ 0 w 461269"/>
                <a:gd name="connsiteY5" fmla="*/ 638345 h 638344"/>
                <a:gd name="connsiteX6" fmla="*/ 0 w 461269"/>
                <a:gd name="connsiteY6" fmla="*/ 188006 h 638344"/>
                <a:gd name="connsiteX7" fmla="*/ 190192 w 461269"/>
                <a:gd name="connsiteY7" fmla="*/ 0 h 638344"/>
                <a:gd name="connsiteX8" fmla="*/ 268892 w 461269"/>
                <a:gd name="connsiteY8" fmla="*/ 0 h 638344"/>
                <a:gd name="connsiteX9" fmla="*/ 461269 w 461269"/>
                <a:gd name="connsiteY9" fmla="*/ 192378 h 638344"/>
                <a:gd name="connsiteX10" fmla="*/ 461269 w 461269"/>
                <a:gd name="connsiteY10" fmla="*/ 638345 h 638344"/>
                <a:gd name="connsiteX11" fmla="*/ 137725 w 461269"/>
                <a:gd name="connsiteY11" fmla="*/ 351964 h 638344"/>
                <a:gd name="connsiteX12" fmla="*/ 323544 w 461269"/>
                <a:gd name="connsiteY12" fmla="*/ 351964 h 638344"/>
                <a:gd name="connsiteX13" fmla="*/ 323544 w 461269"/>
                <a:gd name="connsiteY13" fmla="*/ 201122 h 638344"/>
                <a:gd name="connsiteX14" fmla="*/ 262333 w 461269"/>
                <a:gd name="connsiteY14" fmla="*/ 135539 h 638344"/>
                <a:gd name="connsiteX15" fmla="*/ 198936 w 461269"/>
                <a:gd name="connsiteY15" fmla="*/ 135539 h 638344"/>
                <a:gd name="connsiteX16" fmla="*/ 137725 w 461269"/>
                <a:gd name="connsiteY16" fmla="*/ 194564 h 638344"/>
                <a:gd name="connsiteX17" fmla="*/ 137725 w 461269"/>
                <a:gd name="connsiteY17" fmla="*/ 351964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61269" h="638344">
                  <a:moveTo>
                    <a:pt x="461269" y="638345"/>
                  </a:moveTo>
                  <a:lnTo>
                    <a:pt x="323544" y="638345"/>
                  </a:lnTo>
                  <a:lnTo>
                    <a:pt x="323544" y="487503"/>
                  </a:lnTo>
                  <a:lnTo>
                    <a:pt x="137725" y="487503"/>
                  </a:lnTo>
                  <a:lnTo>
                    <a:pt x="137725" y="638345"/>
                  </a:lnTo>
                  <a:lnTo>
                    <a:pt x="0" y="638345"/>
                  </a:lnTo>
                  <a:lnTo>
                    <a:pt x="0" y="188006"/>
                  </a:lnTo>
                  <a:cubicBezTo>
                    <a:pt x="0" y="61211"/>
                    <a:pt x="63397" y="0"/>
                    <a:pt x="190192" y="0"/>
                  </a:cubicBezTo>
                  <a:lnTo>
                    <a:pt x="268892" y="0"/>
                  </a:lnTo>
                  <a:cubicBezTo>
                    <a:pt x="397872" y="0"/>
                    <a:pt x="461269" y="63397"/>
                    <a:pt x="461269" y="192378"/>
                  </a:cubicBezTo>
                  <a:lnTo>
                    <a:pt x="461269" y="638345"/>
                  </a:lnTo>
                  <a:close/>
                  <a:moveTo>
                    <a:pt x="137725" y="351964"/>
                  </a:moveTo>
                  <a:lnTo>
                    <a:pt x="323544" y="351964"/>
                  </a:lnTo>
                  <a:lnTo>
                    <a:pt x="323544" y="201122"/>
                  </a:lnTo>
                  <a:cubicBezTo>
                    <a:pt x="323544" y="163958"/>
                    <a:pt x="295125" y="135539"/>
                    <a:pt x="262333" y="135539"/>
                  </a:cubicBezTo>
                  <a:lnTo>
                    <a:pt x="198936" y="135539"/>
                  </a:lnTo>
                  <a:cubicBezTo>
                    <a:pt x="163958" y="135539"/>
                    <a:pt x="137725" y="161772"/>
                    <a:pt x="137725" y="194564"/>
                  </a:cubicBezTo>
                  <a:lnTo>
                    <a:pt x="137725" y="351964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671305F5-0F89-01E0-A05C-86EC8B4F7981}"/>
                </a:ext>
              </a:extLst>
            </p:cNvPr>
            <p:cNvSpPr/>
            <p:nvPr/>
          </p:nvSpPr>
          <p:spPr>
            <a:xfrm>
              <a:off x="4205272" y="4495188"/>
              <a:ext cx="327916" cy="638344"/>
            </a:xfrm>
            <a:custGeom>
              <a:avLst/>
              <a:gdLst>
                <a:gd name="connsiteX0" fmla="*/ 327917 w 327916"/>
                <a:gd name="connsiteY0" fmla="*/ 638345 h 638344"/>
                <a:gd name="connsiteX1" fmla="*/ 0 w 327916"/>
                <a:gd name="connsiteY1" fmla="*/ 638345 h 638344"/>
                <a:gd name="connsiteX2" fmla="*/ 0 w 327916"/>
                <a:gd name="connsiteY2" fmla="*/ 0 h 638344"/>
                <a:gd name="connsiteX3" fmla="*/ 137725 w 327916"/>
                <a:gd name="connsiteY3" fmla="*/ 0 h 638344"/>
                <a:gd name="connsiteX4" fmla="*/ 137725 w 327916"/>
                <a:gd name="connsiteY4" fmla="*/ 500620 h 638344"/>
                <a:gd name="connsiteX5" fmla="*/ 327917 w 327916"/>
                <a:gd name="connsiteY5" fmla="*/ 500620 h 638344"/>
                <a:gd name="connsiteX6" fmla="*/ 327917 w 327916"/>
                <a:gd name="connsiteY6" fmla="*/ 638345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7916" h="638344">
                  <a:moveTo>
                    <a:pt x="327917" y="638345"/>
                  </a:moveTo>
                  <a:lnTo>
                    <a:pt x="0" y="638345"/>
                  </a:lnTo>
                  <a:lnTo>
                    <a:pt x="0" y="0"/>
                  </a:lnTo>
                  <a:lnTo>
                    <a:pt x="137725" y="0"/>
                  </a:lnTo>
                  <a:lnTo>
                    <a:pt x="137725" y="500620"/>
                  </a:lnTo>
                  <a:lnTo>
                    <a:pt x="327917" y="500620"/>
                  </a:lnTo>
                  <a:lnTo>
                    <a:pt x="327917" y="638345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3AC58308-E0F7-4BE9-3497-9AAC2CB0AF37}"/>
                </a:ext>
              </a:extLst>
            </p:cNvPr>
            <p:cNvSpPr/>
            <p:nvPr/>
          </p:nvSpPr>
          <p:spPr>
            <a:xfrm>
              <a:off x="4627192" y="4495188"/>
              <a:ext cx="327916" cy="638344"/>
            </a:xfrm>
            <a:custGeom>
              <a:avLst/>
              <a:gdLst>
                <a:gd name="connsiteX0" fmla="*/ 325730 w 327916"/>
                <a:gd name="connsiteY0" fmla="*/ 638345 h 638344"/>
                <a:gd name="connsiteX1" fmla="*/ 0 w 327916"/>
                <a:gd name="connsiteY1" fmla="*/ 638345 h 638344"/>
                <a:gd name="connsiteX2" fmla="*/ 0 w 327916"/>
                <a:gd name="connsiteY2" fmla="*/ 0 h 638344"/>
                <a:gd name="connsiteX3" fmla="*/ 137725 w 327916"/>
                <a:gd name="connsiteY3" fmla="*/ 0 h 638344"/>
                <a:gd name="connsiteX4" fmla="*/ 137725 w 327916"/>
                <a:gd name="connsiteY4" fmla="*/ 500620 h 638344"/>
                <a:gd name="connsiteX5" fmla="*/ 327917 w 327916"/>
                <a:gd name="connsiteY5" fmla="*/ 500620 h 638344"/>
                <a:gd name="connsiteX6" fmla="*/ 327917 w 327916"/>
                <a:gd name="connsiteY6" fmla="*/ 638345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7916" h="638344">
                  <a:moveTo>
                    <a:pt x="325730" y="638345"/>
                  </a:moveTo>
                  <a:lnTo>
                    <a:pt x="0" y="638345"/>
                  </a:lnTo>
                  <a:lnTo>
                    <a:pt x="0" y="0"/>
                  </a:lnTo>
                  <a:lnTo>
                    <a:pt x="137725" y="0"/>
                  </a:lnTo>
                  <a:lnTo>
                    <a:pt x="137725" y="500620"/>
                  </a:lnTo>
                  <a:lnTo>
                    <a:pt x="327917" y="500620"/>
                  </a:lnTo>
                  <a:lnTo>
                    <a:pt x="327917" y="638345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375EC271-D26D-FCD0-D79F-D828597F1886}"/>
                </a:ext>
              </a:extLst>
            </p:cNvPr>
            <p:cNvSpPr/>
            <p:nvPr/>
          </p:nvSpPr>
          <p:spPr>
            <a:xfrm>
              <a:off x="5849228" y="4495188"/>
              <a:ext cx="349777" cy="638344"/>
            </a:xfrm>
            <a:custGeom>
              <a:avLst/>
              <a:gdLst>
                <a:gd name="connsiteX0" fmla="*/ 349778 w 349777"/>
                <a:gd name="connsiteY0" fmla="*/ 638345 h 638344"/>
                <a:gd name="connsiteX1" fmla="*/ 0 w 349777"/>
                <a:gd name="connsiteY1" fmla="*/ 638345 h 638344"/>
                <a:gd name="connsiteX2" fmla="*/ 0 w 349777"/>
                <a:gd name="connsiteY2" fmla="*/ 0 h 638344"/>
                <a:gd name="connsiteX3" fmla="*/ 349778 w 349777"/>
                <a:gd name="connsiteY3" fmla="*/ 0 h 638344"/>
                <a:gd name="connsiteX4" fmla="*/ 349778 w 349777"/>
                <a:gd name="connsiteY4" fmla="*/ 137725 h 638344"/>
                <a:gd name="connsiteX5" fmla="*/ 137725 w 349777"/>
                <a:gd name="connsiteY5" fmla="*/ 137725 h 638344"/>
                <a:gd name="connsiteX6" fmla="*/ 137725 w 349777"/>
                <a:gd name="connsiteY6" fmla="*/ 251403 h 638344"/>
                <a:gd name="connsiteX7" fmla="*/ 349778 w 349777"/>
                <a:gd name="connsiteY7" fmla="*/ 251403 h 638344"/>
                <a:gd name="connsiteX8" fmla="*/ 349778 w 349777"/>
                <a:gd name="connsiteY8" fmla="*/ 389128 h 638344"/>
                <a:gd name="connsiteX9" fmla="*/ 137725 w 349777"/>
                <a:gd name="connsiteY9" fmla="*/ 389128 h 638344"/>
                <a:gd name="connsiteX10" fmla="*/ 137725 w 349777"/>
                <a:gd name="connsiteY10" fmla="*/ 500620 h 638344"/>
                <a:gd name="connsiteX11" fmla="*/ 349778 w 349777"/>
                <a:gd name="connsiteY11" fmla="*/ 500620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49777" h="638344">
                  <a:moveTo>
                    <a:pt x="349778" y="638345"/>
                  </a:moveTo>
                  <a:lnTo>
                    <a:pt x="0" y="638345"/>
                  </a:lnTo>
                  <a:lnTo>
                    <a:pt x="0" y="0"/>
                  </a:lnTo>
                  <a:lnTo>
                    <a:pt x="349778" y="0"/>
                  </a:lnTo>
                  <a:lnTo>
                    <a:pt x="349778" y="137725"/>
                  </a:lnTo>
                  <a:lnTo>
                    <a:pt x="137725" y="137725"/>
                  </a:lnTo>
                  <a:lnTo>
                    <a:pt x="137725" y="251403"/>
                  </a:lnTo>
                  <a:lnTo>
                    <a:pt x="349778" y="251403"/>
                  </a:lnTo>
                  <a:lnTo>
                    <a:pt x="349778" y="389128"/>
                  </a:lnTo>
                  <a:lnTo>
                    <a:pt x="137725" y="389128"/>
                  </a:lnTo>
                  <a:lnTo>
                    <a:pt x="137725" y="500620"/>
                  </a:lnTo>
                  <a:lnTo>
                    <a:pt x="349778" y="500620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AD0D19EF-8975-77DF-7769-749845325C49}"/>
                </a:ext>
              </a:extLst>
            </p:cNvPr>
            <p:cNvSpPr/>
            <p:nvPr/>
          </p:nvSpPr>
          <p:spPr>
            <a:xfrm>
              <a:off x="6321428" y="4495188"/>
              <a:ext cx="441594" cy="638344"/>
            </a:xfrm>
            <a:custGeom>
              <a:avLst/>
              <a:gdLst>
                <a:gd name="connsiteX0" fmla="*/ 439408 w 441594"/>
                <a:gd name="connsiteY0" fmla="*/ 450339 h 638344"/>
                <a:gd name="connsiteX1" fmla="*/ 391314 w 441594"/>
                <a:gd name="connsiteY1" fmla="*/ 360708 h 638344"/>
                <a:gd name="connsiteX2" fmla="*/ 439408 w 441594"/>
                <a:gd name="connsiteY2" fmla="*/ 273264 h 638344"/>
                <a:gd name="connsiteX3" fmla="*/ 439408 w 441594"/>
                <a:gd name="connsiteY3" fmla="*/ 179261 h 638344"/>
                <a:gd name="connsiteX4" fmla="*/ 266706 w 441594"/>
                <a:gd name="connsiteY4" fmla="*/ 0 h 638344"/>
                <a:gd name="connsiteX5" fmla="*/ 0 w 441594"/>
                <a:gd name="connsiteY5" fmla="*/ 0 h 638344"/>
                <a:gd name="connsiteX6" fmla="*/ 0 w 441594"/>
                <a:gd name="connsiteY6" fmla="*/ 638345 h 638344"/>
                <a:gd name="connsiteX7" fmla="*/ 137725 w 441594"/>
                <a:gd name="connsiteY7" fmla="*/ 638345 h 638344"/>
                <a:gd name="connsiteX8" fmla="*/ 137725 w 441594"/>
                <a:gd name="connsiteY8" fmla="*/ 435036 h 638344"/>
                <a:gd name="connsiteX9" fmla="*/ 251403 w 441594"/>
                <a:gd name="connsiteY9" fmla="*/ 435036 h 638344"/>
                <a:gd name="connsiteX10" fmla="*/ 314800 w 441594"/>
                <a:gd name="connsiteY10" fmla="*/ 500620 h 638344"/>
                <a:gd name="connsiteX11" fmla="*/ 314800 w 441594"/>
                <a:gd name="connsiteY11" fmla="*/ 638345 h 638344"/>
                <a:gd name="connsiteX12" fmla="*/ 441594 w 441594"/>
                <a:gd name="connsiteY12" fmla="*/ 638345 h 638344"/>
                <a:gd name="connsiteX13" fmla="*/ 439408 w 441594"/>
                <a:gd name="connsiteY13" fmla="*/ 450339 h 638344"/>
                <a:gd name="connsiteX14" fmla="*/ 312614 w 441594"/>
                <a:gd name="connsiteY14" fmla="*/ 244844 h 638344"/>
                <a:gd name="connsiteX15" fmla="*/ 251403 w 441594"/>
                <a:gd name="connsiteY15" fmla="*/ 306056 h 638344"/>
                <a:gd name="connsiteX16" fmla="*/ 137725 w 441594"/>
                <a:gd name="connsiteY16" fmla="*/ 306056 h 638344"/>
                <a:gd name="connsiteX17" fmla="*/ 137725 w 441594"/>
                <a:gd name="connsiteY17" fmla="*/ 135539 h 638344"/>
                <a:gd name="connsiteX18" fmla="*/ 251403 w 441594"/>
                <a:gd name="connsiteY18" fmla="*/ 135539 h 638344"/>
                <a:gd name="connsiteX19" fmla="*/ 314800 w 441594"/>
                <a:gd name="connsiteY19" fmla="*/ 196750 h 638344"/>
                <a:gd name="connsiteX20" fmla="*/ 314800 w 441594"/>
                <a:gd name="connsiteY20" fmla="*/ 244844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41594" h="638344">
                  <a:moveTo>
                    <a:pt x="439408" y="450339"/>
                  </a:moveTo>
                  <a:cubicBezTo>
                    <a:pt x="439408" y="395686"/>
                    <a:pt x="406617" y="369453"/>
                    <a:pt x="391314" y="360708"/>
                  </a:cubicBezTo>
                  <a:cubicBezTo>
                    <a:pt x="408803" y="349778"/>
                    <a:pt x="439408" y="323545"/>
                    <a:pt x="439408" y="273264"/>
                  </a:cubicBezTo>
                  <a:cubicBezTo>
                    <a:pt x="439408" y="238286"/>
                    <a:pt x="439408" y="179261"/>
                    <a:pt x="439408" y="179261"/>
                  </a:cubicBezTo>
                  <a:cubicBezTo>
                    <a:pt x="439408" y="26233"/>
                    <a:pt x="384755" y="0"/>
                    <a:pt x="266706" y="0"/>
                  </a:cubicBezTo>
                  <a:lnTo>
                    <a:pt x="0" y="0"/>
                  </a:lnTo>
                  <a:lnTo>
                    <a:pt x="0" y="638345"/>
                  </a:lnTo>
                  <a:lnTo>
                    <a:pt x="137725" y="638345"/>
                  </a:lnTo>
                  <a:lnTo>
                    <a:pt x="137725" y="435036"/>
                  </a:lnTo>
                  <a:lnTo>
                    <a:pt x="251403" y="435036"/>
                  </a:lnTo>
                  <a:cubicBezTo>
                    <a:pt x="301683" y="435036"/>
                    <a:pt x="314800" y="459083"/>
                    <a:pt x="314800" y="500620"/>
                  </a:cubicBezTo>
                  <a:lnTo>
                    <a:pt x="314800" y="638345"/>
                  </a:lnTo>
                  <a:lnTo>
                    <a:pt x="441594" y="638345"/>
                  </a:lnTo>
                  <a:lnTo>
                    <a:pt x="439408" y="450339"/>
                  </a:lnTo>
                  <a:close/>
                  <a:moveTo>
                    <a:pt x="312614" y="244844"/>
                  </a:moveTo>
                  <a:cubicBezTo>
                    <a:pt x="312614" y="277636"/>
                    <a:pt x="284195" y="306056"/>
                    <a:pt x="251403" y="306056"/>
                  </a:cubicBezTo>
                  <a:lnTo>
                    <a:pt x="137725" y="306056"/>
                  </a:lnTo>
                  <a:lnTo>
                    <a:pt x="137725" y="135539"/>
                  </a:lnTo>
                  <a:lnTo>
                    <a:pt x="251403" y="135539"/>
                  </a:lnTo>
                  <a:cubicBezTo>
                    <a:pt x="290753" y="135539"/>
                    <a:pt x="314800" y="166144"/>
                    <a:pt x="314800" y="196750"/>
                  </a:cubicBezTo>
                  <a:lnTo>
                    <a:pt x="314800" y="244844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E8280F06-77AE-E208-653E-F0027530410F}"/>
                </a:ext>
              </a:extLst>
            </p:cNvPr>
            <p:cNvSpPr/>
            <p:nvPr/>
          </p:nvSpPr>
          <p:spPr>
            <a:xfrm>
              <a:off x="5055670" y="4495188"/>
              <a:ext cx="675508" cy="642716"/>
            </a:xfrm>
            <a:custGeom>
              <a:avLst/>
              <a:gdLst>
                <a:gd name="connsiteX0" fmla="*/ 489689 w 675508"/>
                <a:gd name="connsiteY0" fmla="*/ 0 h 642716"/>
                <a:gd name="connsiteX1" fmla="*/ 424106 w 675508"/>
                <a:gd name="connsiteY1" fmla="*/ 0 h 642716"/>
                <a:gd name="connsiteX2" fmla="*/ 334475 w 675508"/>
                <a:gd name="connsiteY2" fmla="*/ 48094 h 642716"/>
                <a:gd name="connsiteX3" fmla="*/ 247031 w 675508"/>
                <a:gd name="connsiteY3" fmla="*/ 0 h 642716"/>
                <a:gd name="connsiteX4" fmla="*/ 181447 w 675508"/>
                <a:gd name="connsiteY4" fmla="*/ 0 h 642716"/>
                <a:gd name="connsiteX5" fmla="*/ 0 w 675508"/>
                <a:gd name="connsiteY5" fmla="*/ 192378 h 642716"/>
                <a:gd name="connsiteX6" fmla="*/ 0 w 675508"/>
                <a:gd name="connsiteY6" fmla="*/ 640531 h 642716"/>
                <a:gd name="connsiteX7" fmla="*/ 135539 w 675508"/>
                <a:gd name="connsiteY7" fmla="*/ 640531 h 642716"/>
                <a:gd name="connsiteX8" fmla="*/ 135539 w 675508"/>
                <a:gd name="connsiteY8" fmla="*/ 177075 h 642716"/>
                <a:gd name="connsiteX9" fmla="*/ 139911 w 675508"/>
                <a:gd name="connsiteY9" fmla="*/ 155214 h 642716"/>
                <a:gd name="connsiteX10" fmla="*/ 155214 w 675508"/>
                <a:gd name="connsiteY10" fmla="*/ 150842 h 642716"/>
                <a:gd name="connsiteX11" fmla="*/ 249217 w 675508"/>
                <a:gd name="connsiteY11" fmla="*/ 150842 h 642716"/>
                <a:gd name="connsiteX12" fmla="*/ 264519 w 675508"/>
                <a:gd name="connsiteY12" fmla="*/ 155214 h 642716"/>
                <a:gd name="connsiteX13" fmla="*/ 268892 w 675508"/>
                <a:gd name="connsiteY13" fmla="*/ 179261 h 642716"/>
                <a:gd name="connsiteX14" fmla="*/ 268892 w 675508"/>
                <a:gd name="connsiteY14" fmla="*/ 642717 h 642716"/>
                <a:gd name="connsiteX15" fmla="*/ 268892 w 675508"/>
                <a:gd name="connsiteY15" fmla="*/ 642717 h 642716"/>
                <a:gd name="connsiteX16" fmla="*/ 406617 w 675508"/>
                <a:gd name="connsiteY16" fmla="*/ 642717 h 642716"/>
                <a:gd name="connsiteX17" fmla="*/ 406617 w 675508"/>
                <a:gd name="connsiteY17" fmla="*/ 179261 h 642716"/>
                <a:gd name="connsiteX18" fmla="*/ 410989 w 675508"/>
                <a:gd name="connsiteY18" fmla="*/ 155214 h 642716"/>
                <a:gd name="connsiteX19" fmla="*/ 426292 w 675508"/>
                <a:gd name="connsiteY19" fmla="*/ 150842 h 642716"/>
                <a:gd name="connsiteX20" fmla="*/ 520294 w 675508"/>
                <a:gd name="connsiteY20" fmla="*/ 150842 h 642716"/>
                <a:gd name="connsiteX21" fmla="*/ 535597 w 675508"/>
                <a:gd name="connsiteY21" fmla="*/ 155214 h 642716"/>
                <a:gd name="connsiteX22" fmla="*/ 539970 w 675508"/>
                <a:gd name="connsiteY22" fmla="*/ 177075 h 642716"/>
                <a:gd name="connsiteX23" fmla="*/ 539970 w 675508"/>
                <a:gd name="connsiteY23" fmla="*/ 640531 h 642716"/>
                <a:gd name="connsiteX24" fmla="*/ 675509 w 675508"/>
                <a:gd name="connsiteY24" fmla="*/ 640531 h 642716"/>
                <a:gd name="connsiteX25" fmla="*/ 675509 w 675508"/>
                <a:gd name="connsiteY25" fmla="*/ 192378 h 642716"/>
                <a:gd name="connsiteX26" fmla="*/ 489689 w 675508"/>
                <a:gd name="connsiteY26" fmla="*/ 0 h 642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75508" h="642716">
                  <a:moveTo>
                    <a:pt x="489689" y="0"/>
                  </a:moveTo>
                  <a:lnTo>
                    <a:pt x="424106" y="0"/>
                  </a:lnTo>
                  <a:cubicBezTo>
                    <a:pt x="369453" y="0"/>
                    <a:pt x="343220" y="32792"/>
                    <a:pt x="334475" y="48094"/>
                  </a:cubicBezTo>
                  <a:cubicBezTo>
                    <a:pt x="323544" y="30606"/>
                    <a:pt x="297311" y="0"/>
                    <a:pt x="247031" y="0"/>
                  </a:cubicBezTo>
                  <a:lnTo>
                    <a:pt x="181447" y="0"/>
                  </a:lnTo>
                  <a:cubicBezTo>
                    <a:pt x="43722" y="0"/>
                    <a:pt x="0" y="26233"/>
                    <a:pt x="0" y="192378"/>
                  </a:cubicBezTo>
                  <a:lnTo>
                    <a:pt x="0" y="640531"/>
                  </a:lnTo>
                  <a:lnTo>
                    <a:pt x="135539" y="640531"/>
                  </a:lnTo>
                  <a:lnTo>
                    <a:pt x="135539" y="177075"/>
                  </a:lnTo>
                  <a:cubicBezTo>
                    <a:pt x="135539" y="163958"/>
                    <a:pt x="135539" y="157400"/>
                    <a:pt x="139911" y="155214"/>
                  </a:cubicBezTo>
                  <a:cubicBezTo>
                    <a:pt x="142097" y="153028"/>
                    <a:pt x="148655" y="150842"/>
                    <a:pt x="155214" y="150842"/>
                  </a:cubicBezTo>
                  <a:lnTo>
                    <a:pt x="249217" y="150842"/>
                  </a:lnTo>
                  <a:cubicBezTo>
                    <a:pt x="255775" y="150842"/>
                    <a:pt x="260147" y="150842"/>
                    <a:pt x="264519" y="155214"/>
                  </a:cubicBezTo>
                  <a:cubicBezTo>
                    <a:pt x="268892" y="159586"/>
                    <a:pt x="268892" y="163958"/>
                    <a:pt x="268892" y="179261"/>
                  </a:cubicBezTo>
                  <a:lnTo>
                    <a:pt x="268892" y="642717"/>
                  </a:lnTo>
                  <a:lnTo>
                    <a:pt x="268892" y="642717"/>
                  </a:lnTo>
                  <a:lnTo>
                    <a:pt x="406617" y="642717"/>
                  </a:lnTo>
                  <a:lnTo>
                    <a:pt x="406617" y="179261"/>
                  </a:lnTo>
                  <a:cubicBezTo>
                    <a:pt x="406617" y="166144"/>
                    <a:pt x="406617" y="159586"/>
                    <a:pt x="410989" y="155214"/>
                  </a:cubicBezTo>
                  <a:cubicBezTo>
                    <a:pt x="413175" y="153028"/>
                    <a:pt x="419734" y="150842"/>
                    <a:pt x="426292" y="150842"/>
                  </a:cubicBezTo>
                  <a:lnTo>
                    <a:pt x="520294" y="150842"/>
                  </a:lnTo>
                  <a:cubicBezTo>
                    <a:pt x="526853" y="150842"/>
                    <a:pt x="533411" y="150842"/>
                    <a:pt x="535597" y="155214"/>
                  </a:cubicBezTo>
                  <a:cubicBezTo>
                    <a:pt x="539970" y="159586"/>
                    <a:pt x="539970" y="163958"/>
                    <a:pt x="539970" y="177075"/>
                  </a:cubicBezTo>
                  <a:lnTo>
                    <a:pt x="539970" y="640531"/>
                  </a:lnTo>
                  <a:lnTo>
                    <a:pt x="675509" y="640531"/>
                  </a:lnTo>
                  <a:lnTo>
                    <a:pt x="675509" y="192378"/>
                  </a:lnTo>
                  <a:cubicBezTo>
                    <a:pt x="671136" y="26233"/>
                    <a:pt x="627414" y="0"/>
                    <a:pt x="489689" y="0"/>
                  </a:cubicBez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CC5ACDE0-8F5B-2873-7696-3E5B65A80751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3/18/2024</a:t>
            </a:r>
            <a:endParaRPr lang="de-DE" dirty="0"/>
          </a:p>
        </p:txBody>
      </p:sp>
      <p:sp>
        <p:nvSpPr>
          <p:cNvPr id="18" name="Fußzeilenplatzhalter 17">
            <a:extLst>
              <a:ext uri="{FF2B5EF4-FFF2-40B4-BE49-F238E27FC236}">
                <a16:creationId xmlns:a16="http://schemas.microsoft.com/office/drawing/2014/main" id="{62621ACC-714D-2030-8B80-BEFFBCF7FC8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Fußzeile über Menü Einfügen-&gt; Kopf- und Fußzeile 'Für alle übernehmen'</a:t>
            </a:r>
            <a:endParaRPr lang="de-DE" dirty="0"/>
          </a:p>
        </p:txBody>
      </p:sp>
      <p:sp>
        <p:nvSpPr>
          <p:cNvPr id="19" name="Foliennummernplatzhalter 18">
            <a:extLst>
              <a:ext uri="{FF2B5EF4-FFF2-40B4-BE49-F238E27FC236}">
                <a16:creationId xmlns:a16="http://schemas.microsoft.com/office/drawing/2014/main" id="{29A95247-8BF6-D414-D1F5-023D27CB420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eite </a:t>
            </a:r>
            <a:fld id="{63A738E5-7FE5-4F0E-80D4-9B95A408A0C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043770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hell+Bild rechts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4977EB5B-8228-C601-1176-E715BE9D4B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31632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77EB5B-8228-C601-1176-E715BE9D4B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F3D29DB-C29F-7E03-7D11-D8E722D7D8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91" y="404813"/>
            <a:ext cx="3298134" cy="830997"/>
          </a:xfrm>
        </p:spPr>
        <p:txBody>
          <a:bodyPr vert="horz"/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50FCC40-B9BD-CC74-817B-4FE8B7ABC4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91" y="2060847"/>
            <a:ext cx="3298134" cy="4116115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Bildplatzhalter 22">
            <a:extLst>
              <a:ext uri="{FF2B5EF4-FFF2-40B4-BE49-F238E27FC236}">
                <a16:creationId xmlns:a16="http://schemas.microsoft.com/office/drawing/2014/main" id="{0CCE803F-76E1-51EF-2D37-8BB55EF492E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066125" y="0"/>
            <a:ext cx="8125875" cy="6858000"/>
          </a:xfrm>
          <a:solidFill>
            <a:schemeClr val="tx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FF41598-3133-DEA5-4B4A-F97352D0E718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3/18/2024</a:t>
            </a:r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D056E14-C148-45DE-8E76-D62ABCF0626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Fußzeile über Menü Einfügen-&gt; Kopf- und Fußzeile 'Für alle übernehmen'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77F5AA81-389D-43B3-8365-FD92204D48A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eite </a:t>
            </a:r>
            <a:fld id="{63A738E5-7FE5-4F0E-80D4-9B95A408A0C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011250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16="http://schemas.microsoft.com/office/drawing/2014/main" xmlns:p14="http://schemas.microsoft.com/office/powerpoint/2010/main" xmlns:mc="http://schemas.openxmlformats.org/markup-compatibility/2006" xmlns:v="urn:schemas-microsoft-com:vml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575BFF54-B045-6376-ABED-8AFA545708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531282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592" imgH="591" progId="TCLayout.ActiveDocument.1">
                  <p:embed/>
                </p:oleObj>
              </mc:Choice>
              <mc:Fallback>
                <p:oleObj name="think-cell Folie" r:id="rId18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24CB42BA-7FFF-86C8-18C9-00F876BC1A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90" y="404813"/>
            <a:ext cx="11376024" cy="4154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dirty="0"/>
              <a:t>Edit master title format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9B79CC4-B984-FE07-86DB-E27C14A76AD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89" y="2060847"/>
            <a:ext cx="11376024" cy="41161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Edit master text format</a:t>
            </a:r>
          </a:p>
          <a:p>
            <a:pPr lvl="1"/>
            <a:r>
              <a:rPr lang="de-DE" dirty="0"/>
              <a:t>Second level</a:t>
            </a:r>
          </a:p>
          <a:p>
            <a:pPr lvl="2"/>
            <a:r>
              <a:rPr lang="de-DE" dirty="0"/>
              <a:t>Third level</a:t>
            </a:r>
          </a:p>
          <a:p>
            <a:pPr lvl="3"/>
            <a:r>
              <a:rPr lang="de-DE" dirty="0"/>
              <a:t>Fourth level</a:t>
            </a:r>
          </a:p>
          <a:p>
            <a:pPr lvl="4"/>
            <a:r>
              <a:rPr lang="de-DE" dirty="0"/>
              <a:t>Fifth level</a:t>
            </a:r>
            <a:endParaRPr lang="en-US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8CDB560-0E26-E7F2-8CA3-0FFCF92C466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453373" y="6492746"/>
            <a:ext cx="436017" cy="138499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r>
              <a:rPr lang="de-DE"/>
              <a:t>3/18/2024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AFDD9D6-4010-119B-0CC2-1F63BEF6A8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928120" y="6492746"/>
            <a:ext cx="6359135" cy="1384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r>
              <a:rPr lang="de-DE"/>
              <a:t>Footer via menu Insert-&gt; Header and footer 'Apply to all'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EEF44F7-14B7-8278-989A-9F73D443C5F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0820" y="6492746"/>
            <a:ext cx="423193" cy="138499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r>
              <a:rPr lang="de-DE"/>
              <a:t>Page</a:t>
            </a:r>
            <a:fld id="{63A738E5-7FE5-4F0E-80D4-9B95A408A0CB}" type="slidenum">
              <a:rPr lang="de-DE" smtClean="0"/>
              <a:t> 'No.'</a:t>
            </a:fld>
            <a:endParaRPr lang="de-DE" dirty="0"/>
          </a:p>
        </p:txBody>
      </p:sp>
      <p:grpSp>
        <p:nvGrpSpPr>
          <p:cNvPr id="25" name="Grafik 23">
            <a:extLst>
              <a:ext uri="{FF2B5EF4-FFF2-40B4-BE49-F238E27FC236}">
                <a16:creationId xmlns:a16="http://schemas.microsoft.com/office/drawing/2014/main" id="{29918631-BB4F-59CB-4917-BE599DCE312F}"/>
              </a:ext>
            </a:extLst>
          </p:cNvPr>
          <p:cNvGrpSpPr>
            <a:grpSpLocks noChangeAspect="1"/>
          </p:cNvGrpSpPr>
          <p:nvPr/>
        </p:nvGrpSpPr>
        <p:grpSpPr>
          <a:xfrm>
            <a:off x="407989" y="6453187"/>
            <a:ext cx="918000" cy="158572"/>
            <a:chOff x="3042261" y="4495188"/>
            <a:chExt cx="3720761" cy="642716"/>
          </a:xfrm>
          <a:solidFill>
            <a:srgbClr val="000000"/>
          </a:solidFill>
        </p:grpSpPr>
        <p:sp>
          <p:nvSpPr>
            <p:cNvPr id="26" name="Freihandform: Form 25">
              <a:extLst>
                <a:ext uri="{FF2B5EF4-FFF2-40B4-BE49-F238E27FC236}">
                  <a16:creationId xmlns:a16="http://schemas.microsoft.com/office/drawing/2014/main" id="{6AC0925B-28CE-EA29-731C-C0B118FEC246}"/>
                </a:ext>
              </a:extLst>
            </p:cNvPr>
            <p:cNvSpPr/>
            <p:nvPr/>
          </p:nvSpPr>
          <p:spPr>
            <a:xfrm>
              <a:off x="3042261" y="4495188"/>
              <a:ext cx="450339" cy="638344"/>
            </a:xfrm>
            <a:custGeom>
              <a:avLst/>
              <a:gdLst>
                <a:gd name="connsiteX0" fmla="*/ 262333 w 450339"/>
                <a:gd name="connsiteY0" fmla="*/ 638345 h 638344"/>
                <a:gd name="connsiteX1" fmla="*/ 251403 w 450339"/>
                <a:gd name="connsiteY1" fmla="*/ 638345 h 638344"/>
                <a:gd name="connsiteX2" fmla="*/ 0 w 450339"/>
                <a:gd name="connsiteY2" fmla="*/ 638345 h 638344"/>
                <a:gd name="connsiteX3" fmla="*/ 0 w 450339"/>
                <a:gd name="connsiteY3" fmla="*/ 0 h 638344"/>
                <a:gd name="connsiteX4" fmla="*/ 266706 w 450339"/>
                <a:gd name="connsiteY4" fmla="*/ 0 h 638344"/>
                <a:gd name="connsiteX5" fmla="*/ 450339 w 450339"/>
                <a:gd name="connsiteY5" fmla="*/ 192378 h 638344"/>
                <a:gd name="connsiteX6" fmla="*/ 450339 w 450339"/>
                <a:gd name="connsiteY6" fmla="*/ 452525 h 638344"/>
                <a:gd name="connsiteX7" fmla="*/ 393500 w 450339"/>
                <a:gd name="connsiteY7" fmla="*/ 598995 h 638344"/>
                <a:gd name="connsiteX8" fmla="*/ 262333 w 450339"/>
                <a:gd name="connsiteY8" fmla="*/ 638345 h 638344"/>
                <a:gd name="connsiteX9" fmla="*/ 137725 w 450339"/>
                <a:gd name="connsiteY9" fmla="*/ 500620 h 638344"/>
                <a:gd name="connsiteX10" fmla="*/ 257961 w 450339"/>
                <a:gd name="connsiteY10" fmla="*/ 500620 h 638344"/>
                <a:gd name="connsiteX11" fmla="*/ 319172 w 450339"/>
                <a:gd name="connsiteY11" fmla="*/ 445967 h 638344"/>
                <a:gd name="connsiteX12" fmla="*/ 319172 w 450339"/>
                <a:gd name="connsiteY12" fmla="*/ 196750 h 638344"/>
                <a:gd name="connsiteX13" fmla="*/ 255775 w 450339"/>
                <a:gd name="connsiteY13" fmla="*/ 135539 h 638344"/>
                <a:gd name="connsiteX14" fmla="*/ 135539 w 450339"/>
                <a:gd name="connsiteY14" fmla="*/ 135539 h 638344"/>
                <a:gd name="connsiteX15" fmla="*/ 135539 w 450339"/>
                <a:gd name="connsiteY15" fmla="*/ 500620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0339" h="638344">
                  <a:moveTo>
                    <a:pt x="262333" y="638345"/>
                  </a:moveTo>
                  <a:cubicBezTo>
                    <a:pt x="257961" y="638345"/>
                    <a:pt x="255775" y="638345"/>
                    <a:pt x="251403" y="638345"/>
                  </a:cubicBezTo>
                  <a:lnTo>
                    <a:pt x="0" y="638345"/>
                  </a:lnTo>
                  <a:lnTo>
                    <a:pt x="0" y="0"/>
                  </a:lnTo>
                  <a:lnTo>
                    <a:pt x="266706" y="0"/>
                  </a:lnTo>
                  <a:cubicBezTo>
                    <a:pt x="391314" y="0"/>
                    <a:pt x="450339" y="61211"/>
                    <a:pt x="450339" y="192378"/>
                  </a:cubicBezTo>
                  <a:lnTo>
                    <a:pt x="450339" y="452525"/>
                  </a:lnTo>
                  <a:cubicBezTo>
                    <a:pt x="450339" y="518108"/>
                    <a:pt x="430664" y="566203"/>
                    <a:pt x="393500" y="598995"/>
                  </a:cubicBezTo>
                  <a:cubicBezTo>
                    <a:pt x="362895" y="625228"/>
                    <a:pt x="319172" y="638345"/>
                    <a:pt x="262333" y="638345"/>
                  </a:cubicBezTo>
                  <a:close/>
                  <a:moveTo>
                    <a:pt x="137725" y="500620"/>
                  </a:moveTo>
                  <a:lnTo>
                    <a:pt x="257961" y="500620"/>
                  </a:lnTo>
                  <a:cubicBezTo>
                    <a:pt x="288567" y="500620"/>
                    <a:pt x="314800" y="478758"/>
                    <a:pt x="319172" y="445967"/>
                  </a:cubicBezTo>
                  <a:lnTo>
                    <a:pt x="319172" y="196750"/>
                  </a:lnTo>
                  <a:cubicBezTo>
                    <a:pt x="319172" y="163958"/>
                    <a:pt x="290753" y="135539"/>
                    <a:pt x="255775" y="135539"/>
                  </a:cubicBezTo>
                  <a:lnTo>
                    <a:pt x="135539" y="135539"/>
                  </a:lnTo>
                  <a:lnTo>
                    <a:pt x="135539" y="500620"/>
                  </a:lnTo>
                  <a:close/>
                </a:path>
              </a:pathLst>
            </a:custGeom>
            <a:solidFill>
              <a:srgbClr val="000000"/>
            </a:solidFill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B8EAEE7B-80B6-D6A9-D6D1-3F8A52E28F73}"/>
                </a:ext>
              </a:extLst>
            </p:cNvPr>
            <p:cNvSpPr/>
            <p:nvPr/>
          </p:nvSpPr>
          <p:spPr>
            <a:xfrm>
              <a:off x="3612836" y="4495188"/>
              <a:ext cx="461269" cy="638344"/>
            </a:xfrm>
            <a:custGeom>
              <a:avLst/>
              <a:gdLst>
                <a:gd name="connsiteX0" fmla="*/ 461269 w 461269"/>
                <a:gd name="connsiteY0" fmla="*/ 638345 h 638344"/>
                <a:gd name="connsiteX1" fmla="*/ 323544 w 461269"/>
                <a:gd name="connsiteY1" fmla="*/ 638345 h 638344"/>
                <a:gd name="connsiteX2" fmla="*/ 323544 w 461269"/>
                <a:gd name="connsiteY2" fmla="*/ 487503 h 638344"/>
                <a:gd name="connsiteX3" fmla="*/ 137725 w 461269"/>
                <a:gd name="connsiteY3" fmla="*/ 487503 h 638344"/>
                <a:gd name="connsiteX4" fmla="*/ 137725 w 461269"/>
                <a:gd name="connsiteY4" fmla="*/ 638345 h 638344"/>
                <a:gd name="connsiteX5" fmla="*/ 0 w 461269"/>
                <a:gd name="connsiteY5" fmla="*/ 638345 h 638344"/>
                <a:gd name="connsiteX6" fmla="*/ 0 w 461269"/>
                <a:gd name="connsiteY6" fmla="*/ 188006 h 638344"/>
                <a:gd name="connsiteX7" fmla="*/ 190192 w 461269"/>
                <a:gd name="connsiteY7" fmla="*/ 0 h 638344"/>
                <a:gd name="connsiteX8" fmla="*/ 268892 w 461269"/>
                <a:gd name="connsiteY8" fmla="*/ 0 h 638344"/>
                <a:gd name="connsiteX9" fmla="*/ 461269 w 461269"/>
                <a:gd name="connsiteY9" fmla="*/ 192378 h 638344"/>
                <a:gd name="connsiteX10" fmla="*/ 461269 w 461269"/>
                <a:gd name="connsiteY10" fmla="*/ 638345 h 638344"/>
                <a:gd name="connsiteX11" fmla="*/ 137725 w 461269"/>
                <a:gd name="connsiteY11" fmla="*/ 351964 h 638344"/>
                <a:gd name="connsiteX12" fmla="*/ 323544 w 461269"/>
                <a:gd name="connsiteY12" fmla="*/ 351964 h 638344"/>
                <a:gd name="connsiteX13" fmla="*/ 323544 w 461269"/>
                <a:gd name="connsiteY13" fmla="*/ 201122 h 638344"/>
                <a:gd name="connsiteX14" fmla="*/ 262333 w 461269"/>
                <a:gd name="connsiteY14" fmla="*/ 135539 h 638344"/>
                <a:gd name="connsiteX15" fmla="*/ 198936 w 461269"/>
                <a:gd name="connsiteY15" fmla="*/ 135539 h 638344"/>
                <a:gd name="connsiteX16" fmla="*/ 137725 w 461269"/>
                <a:gd name="connsiteY16" fmla="*/ 194564 h 638344"/>
                <a:gd name="connsiteX17" fmla="*/ 137725 w 461269"/>
                <a:gd name="connsiteY17" fmla="*/ 351964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61269" h="638344">
                  <a:moveTo>
                    <a:pt x="461269" y="638345"/>
                  </a:moveTo>
                  <a:lnTo>
                    <a:pt x="323544" y="638345"/>
                  </a:lnTo>
                  <a:lnTo>
                    <a:pt x="323544" y="487503"/>
                  </a:lnTo>
                  <a:lnTo>
                    <a:pt x="137725" y="487503"/>
                  </a:lnTo>
                  <a:lnTo>
                    <a:pt x="137725" y="638345"/>
                  </a:lnTo>
                  <a:lnTo>
                    <a:pt x="0" y="638345"/>
                  </a:lnTo>
                  <a:lnTo>
                    <a:pt x="0" y="188006"/>
                  </a:lnTo>
                  <a:cubicBezTo>
                    <a:pt x="0" y="61211"/>
                    <a:pt x="63397" y="0"/>
                    <a:pt x="190192" y="0"/>
                  </a:cubicBezTo>
                  <a:lnTo>
                    <a:pt x="268892" y="0"/>
                  </a:lnTo>
                  <a:cubicBezTo>
                    <a:pt x="397872" y="0"/>
                    <a:pt x="461269" y="63397"/>
                    <a:pt x="461269" y="192378"/>
                  </a:cubicBezTo>
                  <a:lnTo>
                    <a:pt x="461269" y="638345"/>
                  </a:lnTo>
                  <a:close/>
                  <a:moveTo>
                    <a:pt x="137725" y="351964"/>
                  </a:moveTo>
                  <a:lnTo>
                    <a:pt x="323544" y="351964"/>
                  </a:lnTo>
                  <a:lnTo>
                    <a:pt x="323544" y="201122"/>
                  </a:lnTo>
                  <a:cubicBezTo>
                    <a:pt x="323544" y="163958"/>
                    <a:pt x="295125" y="135539"/>
                    <a:pt x="262333" y="135539"/>
                  </a:cubicBezTo>
                  <a:lnTo>
                    <a:pt x="198936" y="135539"/>
                  </a:lnTo>
                  <a:cubicBezTo>
                    <a:pt x="163958" y="135539"/>
                    <a:pt x="137725" y="161772"/>
                    <a:pt x="137725" y="194564"/>
                  </a:cubicBezTo>
                  <a:lnTo>
                    <a:pt x="137725" y="351964"/>
                  </a:lnTo>
                  <a:close/>
                </a:path>
              </a:pathLst>
            </a:custGeom>
            <a:solidFill>
              <a:srgbClr val="000000"/>
            </a:solidFill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id="{E97AFB68-5C03-9A94-09FB-8B26E0904172}"/>
                </a:ext>
              </a:extLst>
            </p:cNvPr>
            <p:cNvSpPr/>
            <p:nvPr/>
          </p:nvSpPr>
          <p:spPr>
            <a:xfrm>
              <a:off x="4205272" y="4495188"/>
              <a:ext cx="327916" cy="638344"/>
            </a:xfrm>
            <a:custGeom>
              <a:avLst/>
              <a:gdLst>
                <a:gd name="connsiteX0" fmla="*/ 327917 w 327916"/>
                <a:gd name="connsiteY0" fmla="*/ 638345 h 638344"/>
                <a:gd name="connsiteX1" fmla="*/ 0 w 327916"/>
                <a:gd name="connsiteY1" fmla="*/ 638345 h 638344"/>
                <a:gd name="connsiteX2" fmla="*/ 0 w 327916"/>
                <a:gd name="connsiteY2" fmla="*/ 0 h 638344"/>
                <a:gd name="connsiteX3" fmla="*/ 137725 w 327916"/>
                <a:gd name="connsiteY3" fmla="*/ 0 h 638344"/>
                <a:gd name="connsiteX4" fmla="*/ 137725 w 327916"/>
                <a:gd name="connsiteY4" fmla="*/ 500620 h 638344"/>
                <a:gd name="connsiteX5" fmla="*/ 327917 w 327916"/>
                <a:gd name="connsiteY5" fmla="*/ 500620 h 638344"/>
                <a:gd name="connsiteX6" fmla="*/ 327917 w 327916"/>
                <a:gd name="connsiteY6" fmla="*/ 638345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7916" h="638344">
                  <a:moveTo>
                    <a:pt x="327917" y="638345"/>
                  </a:moveTo>
                  <a:lnTo>
                    <a:pt x="0" y="638345"/>
                  </a:lnTo>
                  <a:lnTo>
                    <a:pt x="0" y="0"/>
                  </a:lnTo>
                  <a:lnTo>
                    <a:pt x="137725" y="0"/>
                  </a:lnTo>
                  <a:lnTo>
                    <a:pt x="137725" y="500620"/>
                  </a:lnTo>
                  <a:lnTo>
                    <a:pt x="327917" y="500620"/>
                  </a:lnTo>
                  <a:lnTo>
                    <a:pt x="327917" y="638345"/>
                  </a:lnTo>
                  <a:close/>
                </a:path>
              </a:pathLst>
            </a:custGeom>
            <a:solidFill>
              <a:srgbClr val="000000"/>
            </a:solidFill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id="{EC507CE7-DE89-2A8D-5D29-1AD341EB9EDD}"/>
                </a:ext>
              </a:extLst>
            </p:cNvPr>
            <p:cNvSpPr/>
            <p:nvPr/>
          </p:nvSpPr>
          <p:spPr>
            <a:xfrm>
              <a:off x="4627192" y="4495188"/>
              <a:ext cx="327916" cy="638344"/>
            </a:xfrm>
            <a:custGeom>
              <a:avLst/>
              <a:gdLst>
                <a:gd name="connsiteX0" fmla="*/ 325730 w 327916"/>
                <a:gd name="connsiteY0" fmla="*/ 638345 h 638344"/>
                <a:gd name="connsiteX1" fmla="*/ 0 w 327916"/>
                <a:gd name="connsiteY1" fmla="*/ 638345 h 638344"/>
                <a:gd name="connsiteX2" fmla="*/ 0 w 327916"/>
                <a:gd name="connsiteY2" fmla="*/ 0 h 638344"/>
                <a:gd name="connsiteX3" fmla="*/ 137725 w 327916"/>
                <a:gd name="connsiteY3" fmla="*/ 0 h 638344"/>
                <a:gd name="connsiteX4" fmla="*/ 137725 w 327916"/>
                <a:gd name="connsiteY4" fmla="*/ 500620 h 638344"/>
                <a:gd name="connsiteX5" fmla="*/ 327917 w 327916"/>
                <a:gd name="connsiteY5" fmla="*/ 500620 h 638344"/>
                <a:gd name="connsiteX6" fmla="*/ 327917 w 327916"/>
                <a:gd name="connsiteY6" fmla="*/ 638345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7916" h="638344">
                  <a:moveTo>
                    <a:pt x="325730" y="638345"/>
                  </a:moveTo>
                  <a:lnTo>
                    <a:pt x="0" y="638345"/>
                  </a:lnTo>
                  <a:lnTo>
                    <a:pt x="0" y="0"/>
                  </a:lnTo>
                  <a:lnTo>
                    <a:pt x="137725" y="0"/>
                  </a:lnTo>
                  <a:lnTo>
                    <a:pt x="137725" y="500620"/>
                  </a:lnTo>
                  <a:lnTo>
                    <a:pt x="327917" y="500620"/>
                  </a:lnTo>
                  <a:lnTo>
                    <a:pt x="327917" y="638345"/>
                  </a:lnTo>
                  <a:close/>
                </a:path>
              </a:pathLst>
            </a:custGeom>
            <a:solidFill>
              <a:srgbClr val="000000"/>
            </a:solidFill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" name="Freihandform: Form 29">
              <a:extLst>
                <a:ext uri="{FF2B5EF4-FFF2-40B4-BE49-F238E27FC236}">
                  <a16:creationId xmlns:a16="http://schemas.microsoft.com/office/drawing/2014/main" id="{89D461FE-5E43-B00E-E8C0-A1978EB493EF}"/>
                </a:ext>
              </a:extLst>
            </p:cNvPr>
            <p:cNvSpPr/>
            <p:nvPr/>
          </p:nvSpPr>
          <p:spPr>
            <a:xfrm>
              <a:off x="5849228" y="4495188"/>
              <a:ext cx="349777" cy="638344"/>
            </a:xfrm>
            <a:custGeom>
              <a:avLst/>
              <a:gdLst>
                <a:gd name="connsiteX0" fmla="*/ 349778 w 349777"/>
                <a:gd name="connsiteY0" fmla="*/ 638345 h 638344"/>
                <a:gd name="connsiteX1" fmla="*/ 0 w 349777"/>
                <a:gd name="connsiteY1" fmla="*/ 638345 h 638344"/>
                <a:gd name="connsiteX2" fmla="*/ 0 w 349777"/>
                <a:gd name="connsiteY2" fmla="*/ 0 h 638344"/>
                <a:gd name="connsiteX3" fmla="*/ 349778 w 349777"/>
                <a:gd name="connsiteY3" fmla="*/ 0 h 638344"/>
                <a:gd name="connsiteX4" fmla="*/ 349778 w 349777"/>
                <a:gd name="connsiteY4" fmla="*/ 137725 h 638344"/>
                <a:gd name="connsiteX5" fmla="*/ 137725 w 349777"/>
                <a:gd name="connsiteY5" fmla="*/ 137725 h 638344"/>
                <a:gd name="connsiteX6" fmla="*/ 137725 w 349777"/>
                <a:gd name="connsiteY6" fmla="*/ 251403 h 638344"/>
                <a:gd name="connsiteX7" fmla="*/ 349778 w 349777"/>
                <a:gd name="connsiteY7" fmla="*/ 251403 h 638344"/>
                <a:gd name="connsiteX8" fmla="*/ 349778 w 349777"/>
                <a:gd name="connsiteY8" fmla="*/ 389128 h 638344"/>
                <a:gd name="connsiteX9" fmla="*/ 137725 w 349777"/>
                <a:gd name="connsiteY9" fmla="*/ 389128 h 638344"/>
                <a:gd name="connsiteX10" fmla="*/ 137725 w 349777"/>
                <a:gd name="connsiteY10" fmla="*/ 500620 h 638344"/>
                <a:gd name="connsiteX11" fmla="*/ 349778 w 349777"/>
                <a:gd name="connsiteY11" fmla="*/ 500620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49777" h="638344">
                  <a:moveTo>
                    <a:pt x="349778" y="638345"/>
                  </a:moveTo>
                  <a:lnTo>
                    <a:pt x="0" y="638345"/>
                  </a:lnTo>
                  <a:lnTo>
                    <a:pt x="0" y="0"/>
                  </a:lnTo>
                  <a:lnTo>
                    <a:pt x="349778" y="0"/>
                  </a:lnTo>
                  <a:lnTo>
                    <a:pt x="349778" y="137725"/>
                  </a:lnTo>
                  <a:lnTo>
                    <a:pt x="137725" y="137725"/>
                  </a:lnTo>
                  <a:lnTo>
                    <a:pt x="137725" y="251403"/>
                  </a:lnTo>
                  <a:lnTo>
                    <a:pt x="349778" y="251403"/>
                  </a:lnTo>
                  <a:lnTo>
                    <a:pt x="349778" y="389128"/>
                  </a:lnTo>
                  <a:lnTo>
                    <a:pt x="137725" y="389128"/>
                  </a:lnTo>
                  <a:lnTo>
                    <a:pt x="137725" y="500620"/>
                  </a:lnTo>
                  <a:lnTo>
                    <a:pt x="349778" y="500620"/>
                  </a:lnTo>
                  <a:close/>
                </a:path>
              </a:pathLst>
            </a:custGeom>
            <a:solidFill>
              <a:srgbClr val="000000"/>
            </a:solidFill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1" name="Freihandform: Form 30">
              <a:extLst>
                <a:ext uri="{FF2B5EF4-FFF2-40B4-BE49-F238E27FC236}">
                  <a16:creationId xmlns:a16="http://schemas.microsoft.com/office/drawing/2014/main" id="{ACF5C9E7-77CE-223A-ABAA-AFD3B4FFADB7}"/>
                </a:ext>
              </a:extLst>
            </p:cNvPr>
            <p:cNvSpPr/>
            <p:nvPr/>
          </p:nvSpPr>
          <p:spPr>
            <a:xfrm>
              <a:off x="6321428" y="4495188"/>
              <a:ext cx="441594" cy="638344"/>
            </a:xfrm>
            <a:custGeom>
              <a:avLst/>
              <a:gdLst>
                <a:gd name="connsiteX0" fmla="*/ 439408 w 441594"/>
                <a:gd name="connsiteY0" fmla="*/ 450339 h 638344"/>
                <a:gd name="connsiteX1" fmla="*/ 391314 w 441594"/>
                <a:gd name="connsiteY1" fmla="*/ 360708 h 638344"/>
                <a:gd name="connsiteX2" fmla="*/ 439408 w 441594"/>
                <a:gd name="connsiteY2" fmla="*/ 273264 h 638344"/>
                <a:gd name="connsiteX3" fmla="*/ 439408 w 441594"/>
                <a:gd name="connsiteY3" fmla="*/ 179261 h 638344"/>
                <a:gd name="connsiteX4" fmla="*/ 266706 w 441594"/>
                <a:gd name="connsiteY4" fmla="*/ 0 h 638344"/>
                <a:gd name="connsiteX5" fmla="*/ 0 w 441594"/>
                <a:gd name="connsiteY5" fmla="*/ 0 h 638344"/>
                <a:gd name="connsiteX6" fmla="*/ 0 w 441594"/>
                <a:gd name="connsiteY6" fmla="*/ 638345 h 638344"/>
                <a:gd name="connsiteX7" fmla="*/ 137725 w 441594"/>
                <a:gd name="connsiteY7" fmla="*/ 638345 h 638344"/>
                <a:gd name="connsiteX8" fmla="*/ 137725 w 441594"/>
                <a:gd name="connsiteY8" fmla="*/ 435036 h 638344"/>
                <a:gd name="connsiteX9" fmla="*/ 251403 w 441594"/>
                <a:gd name="connsiteY9" fmla="*/ 435036 h 638344"/>
                <a:gd name="connsiteX10" fmla="*/ 314800 w 441594"/>
                <a:gd name="connsiteY10" fmla="*/ 500620 h 638344"/>
                <a:gd name="connsiteX11" fmla="*/ 314800 w 441594"/>
                <a:gd name="connsiteY11" fmla="*/ 638345 h 638344"/>
                <a:gd name="connsiteX12" fmla="*/ 441594 w 441594"/>
                <a:gd name="connsiteY12" fmla="*/ 638345 h 638344"/>
                <a:gd name="connsiteX13" fmla="*/ 439408 w 441594"/>
                <a:gd name="connsiteY13" fmla="*/ 450339 h 638344"/>
                <a:gd name="connsiteX14" fmla="*/ 312614 w 441594"/>
                <a:gd name="connsiteY14" fmla="*/ 244844 h 638344"/>
                <a:gd name="connsiteX15" fmla="*/ 251403 w 441594"/>
                <a:gd name="connsiteY15" fmla="*/ 306056 h 638344"/>
                <a:gd name="connsiteX16" fmla="*/ 137725 w 441594"/>
                <a:gd name="connsiteY16" fmla="*/ 306056 h 638344"/>
                <a:gd name="connsiteX17" fmla="*/ 137725 w 441594"/>
                <a:gd name="connsiteY17" fmla="*/ 135539 h 638344"/>
                <a:gd name="connsiteX18" fmla="*/ 251403 w 441594"/>
                <a:gd name="connsiteY18" fmla="*/ 135539 h 638344"/>
                <a:gd name="connsiteX19" fmla="*/ 314800 w 441594"/>
                <a:gd name="connsiteY19" fmla="*/ 196750 h 638344"/>
                <a:gd name="connsiteX20" fmla="*/ 314800 w 441594"/>
                <a:gd name="connsiteY20" fmla="*/ 244844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41594" h="638344">
                  <a:moveTo>
                    <a:pt x="439408" y="450339"/>
                  </a:moveTo>
                  <a:cubicBezTo>
                    <a:pt x="439408" y="395686"/>
                    <a:pt x="406617" y="369453"/>
                    <a:pt x="391314" y="360708"/>
                  </a:cubicBezTo>
                  <a:cubicBezTo>
                    <a:pt x="408803" y="349778"/>
                    <a:pt x="439408" y="323545"/>
                    <a:pt x="439408" y="273264"/>
                  </a:cubicBezTo>
                  <a:cubicBezTo>
                    <a:pt x="439408" y="238286"/>
                    <a:pt x="439408" y="179261"/>
                    <a:pt x="439408" y="179261"/>
                  </a:cubicBezTo>
                  <a:cubicBezTo>
                    <a:pt x="439408" y="26233"/>
                    <a:pt x="384755" y="0"/>
                    <a:pt x="266706" y="0"/>
                  </a:cubicBezTo>
                  <a:lnTo>
                    <a:pt x="0" y="0"/>
                  </a:lnTo>
                  <a:lnTo>
                    <a:pt x="0" y="638345"/>
                  </a:lnTo>
                  <a:lnTo>
                    <a:pt x="137725" y="638345"/>
                  </a:lnTo>
                  <a:lnTo>
                    <a:pt x="137725" y="435036"/>
                  </a:lnTo>
                  <a:lnTo>
                    <a:pt x="251403" y="435036"/>
                  </a:lnTo>
                  <a:cubicBezTo>
                    <a:pt x="301683" y="435036"/>
                    <a:pt x="314800" y="459083"/>
                    <a:pt x="314800" y="500620"/>
                  </a:cubicBezTo>
                  <a:lnTo>
                    <a:pt x="314800" y="638345"/>
                  </a:lnTo>
                  <a:lnTo>
                    <a:pt x="441594" y="638345"/>
                  </a:lnTo>
                  <a:lnTo>
                    <a:pt x="439408" y="450339"/>
                  </a:lnTo>
                  <a:close/>
                  <a:moveTo>
                    <a:pt x="312614" y="244844"/>
                  </a:moveTo>
                  <a:cubicBezTo>
                    <a:pt x="312614" y="277636"/>
                    <a:pt x="284195" y="306056"/>
                    <a:pt x="251403" y="306056"/>
                  </a:cubicBezTo>
                  <a:lnTo>
                    <a:pt x="137725" y="306056"/>
                  </a:lnTo>
                  <a:lnTo>
                    <a:pt x="137725" y="135539"/>
                  </a:lnTo>
                  <a:lnTo>
                    <a:pt x="251403" y="135539"/>
                  </a:lnTo>
                  <a:cubicBezTo>
                    <a:pt x="290753" y="135539"/>
                    <a:pt x="314800" y="166144"/>
                    <a:pt x="314800" y="196750"/>
                  </a:cubicBezTo>
                  <a:lnTo>
                    <a:pt x="314800" y="244844"/>
                  </a:lnTo>
                  <a:close/>
                </a:path>
              </a:pathLst>
            </a:custGeom>
            <a:solidFill>
              <a:srgbClr val="000000"/>
            </a:solidFill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2" name="Freihandform: Form 31">
              <a:extLst>
                <a:ext uri="{FF2B5EF4-FFF2-40B4-BE49-F238E27FC236}">
                  <a16:creationId xmlns:a16="http://schemas.microsoft.com/office/drawing/2014/main" id="{66EDD426-97E7-1CE8-38E4-0C02D9614F24}"/>
                </a:ext>
              </a:extLst>
            </p:cNvPr>
            <p:cNvSpPr/>
            <p:nvPr/>
          </p:nvSpPr>
          <p:spPr>
            <a:xfrm>
              <a:off x="5055670" y="4495188"/>
              <a:ext cx="675508" cy="642716"/>
            </a:xfrm>
            <a:custGeom>
              <a:avLst/>
              <a:gdLst>
                <a:gd name="connsiteX0" fmla="*/ 489689 w 675508"/>
                <a:gd name="connsiteY0" fmla="*/ 0 h 642716"/>
                <a:gd name="connsiteX1" fmla="*/ 424106 w 675508"/>
                <a:gd name="connsiteY1" fmla="*/ 0 h 642716"/>
                <a:gd name="connsiteX2" fmla="*/ 334475 w 675508"/>
                <a:gd name="connsiteY2" fmla="*/ 48094 h 642716"/>
                <a:gd name="connsiteX3" fmla="*/ 247031 w 675508"/>
                <a:gd name="connsiteY3" fmla="*/ 0 h 642716"/>
                <a:gd name="connsiteX4" fmla="*/ 181447 w 675508"/>
                <a:gd name="connsiteY4" fmla="*/ 0 h 642716"/>
                <a:gd name="connsiteX5" fmla="*/ 0 w 675508"/>
                <a:gd name="connsiteY5" fmla="*/ 192378 h 642716"/>
                <a:gd name="connsiteX6" fmla="*/ 0 w 675508"/>
                <a:gd name="connsiteY6" fmla="*/ 640531 h 642716"/>
                <a:gd name="connsiteX7" fmla="*/ 135539 w 675508"/>
                <a:gd name="connsiteY7" fmla="*/ 640531 h 642716"/>
                <a:gd name="connsiteX8" fmla="*/ 135539 w 675508"/>
                <a:gd name="connsiteY8" fmla="*/ 177075 h 642716"/>
                <a:gd name="connsiteX9" fmla="*/ 139911 w 675508"/>
                <a:gd name="connsiteY9" fmla="*/ 155214 h 642716"/>
                <a:gd name="connsiteX10" fmla="*/ 155214 w 675508"/>
                <a:gd name="connsiteY10" fmla="*/ 150842 h 642716"/>
                <a:gd name="connsiteX11" fmla="*/ 249217 w 675508"/>
                <a:gd name="connsiteY11" fmla="*/ 150842 h 642716"/>
                <a:gd name="connsiteX12" fmla="*/ 264519 w 675508"/>
                <a:gd name="connsiteY12" fmla="*/ 155214 h 642716"/>
                <a:gd name="connsiteX13" fmla="*/ 268892 w 675508"/>
                <a:gd name="connsiteY13" fmla="*/ 179261 h 642716"/>
                <a:gd name="connsiteX14" fmla="*/ 268892 w 675508"/>
                <a:gd name="connsiteY14" fmla="*/ 642717 h 642716"/>
                <a:gd name="connsiteX15" fmla="*/ 268892 w 675508"/>
                <a:gd name="connsiteY15" fmla="*/ 642717 h 642716"/>
                <a:gd name="connsiteX16" fmla="*/ 406617 w 675508"/>
                <a:gd name="connsiteY16" fmla="*/ 642717 h 642716"/>
                <a:gd name="connsiteX17" fmla="*/ 406617 w 675508"/>
                <a:gd name="connsiteY17" fmla="*/ 179261 h 642716"/>
                <a:gd name="connsiteX18" fmla="*/ 410989 w 675508"/>
                <a:gd name="connsiteY18" fmla="*/ 155214 h 642716"/>
                <a:gd name="connsiteX19" fmla="*/ 426292 w 675508"/>
                <a:gd name="connsiteY19" fmla="*/ 150842 h 642716"/>
                <a:gd name="connsiteX20" fmla="*/ 520294 w 675508"/>
                <a:gd name="connsiteY20" fmla="*/ 150842 h 642716"/>
                <a:gd name="connsiteX21" fmla="*/ 535597 w 675508"/>
                <a:gd name="connsiteY21" fmla="*/ 155214 h 642716"/>
                <a:gd name="connsiteX22" fmla="*/ 539970 w 675508"/>
                <a:gd name="connsiteY22" fmla="*/ 177075 h 642716"/>
                <a:gd name="connsiteX23" fmla="*/ 539970 w 675508"/>
                <a:gd name="connsiteY23" fmla="*/ 640531 h 642716"/>
                <a:gd name="connsiteX24" fmla="*/ 675509 w 675508"/>
                <a:gd name="connsiteY24" fmla="*/ 640531 h 642716"/>
                <a:gd name="connsiteX25" fmla="*/ 675509 w 675508"/>
                <a:gd name="connsiteY25" fmla="*/ 192378 h 642716"/>
                <a:gd name="connsiteX26" fmla="*/ 489689 w 675508"/>
                <a:gd name="connsiteY26" fmla="*/ 0 h 642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75508" h="642716">
                  <a:moveTo>
                    <a:pt x="489689" y="0"/>
                  </a:moveTo>
                  <a:lnTo>
                    <a:pt x="424106" y="0"/>
                  </a:lnTo>
                  <a:cubicBezTo>
                    <a:pt x="369453" y="0"/>
                    <a:pt x="343220" y="32792"/>
                    <a:pt x="334475" y="48094"/>
                  </a:cubicBezTo>
                  <a:cubicBezTo>
                    <a:pt x="323544" y="30606"/>
                    <a:pt x="297311" y="0"/>
                    <a:pt x="247031" y="0"/>
                  </a:cubicBezTo>
                  <a:lnTo>
                    <a:pt x="181447" y="0"/>
                  </a:lnTo>
                  <a:cubicBezTo>
                    <a:pt x="43722" y="0"/>
                    <a:pt x="0" y="26233"/>
                    <a:pt x="0" y="192378"/>
                  </a:cubicBezTo>
                  <a:lnTo>
                    <a:pt x="0" y="640531"/>
                  </a:lnTo>
                  <a:lnTo>
                    <a:pt x="135539" y="640531"/>
                  </a:lnTo>
                  <a:lnTo>
                    <a:pt x="135539" y="177075"/>
                  </a:lnTo>
                  <a:cubicBezTo>
                    <a:pt x="135539" y="163958"/>
                    <a:pt x="135539" y="157400"/>
                    <a:pt x="139911" y="155214"/>
                  </a:cubicBezTo>
                  <a:cubicBezTo>
                    <a:pt x="142097" y="153028"/>
                    <a:pt x="148655" y="150842"/>
                    <a:pt x="155214" y="150842"/>
                  </a:cubicBezTo>
                  <a:lnTo>
                    <a:pt x="249217" y="150842"/>
                  </a:lnTo>
                  <a:cubicBezTo>
                    <a:pt x="255775" y="150842"/>
                    <a:pt x="260147" y="150842"/>
                    <a:pt x="264519" y="155214"/>
                  </a:cubicBezTo>
                  <a:cubicBezTo>
                    <a:pt x="268892" y="159586"/>
                    <a:pt x="268892" y="163958"/>
                    <a:pt x="268892" y="179261"/>
                  </a:cubicBezTo>
                  <a:lnTo>
                    <a:pt x="268892" y="642717"/>
                  </a:lnTo>
                  <a:lnTo>
                    <a:pt x="268892" y="642717"/>
                  </a:lnTo>
                  <a:lnTo>
                    <a:pt x="406617" y="642717"/>
                  </a:lnTo>
                  <a:lnTo>
                    <a:pt x="406617" y="179261"/>
                  </a:lnTo>
                  <a:cubicBezTo>
                    <a:pt x="406617" y="166144"/>
                    <a:pt x="406617" y="159586"/>
                    <a:pt x="410989" y="155214"/>
                  </a:cubicBezTo>
                  <a:cubicBezTo>
                    <a:pt x="413175" y="153028"/>
                    <a:pt x="419734" y="150842"/>
                    <a:pt x="426292" y="150842"/>
                  </a:cubicBezTo>
                  <a:lnTo>
                    <a:pt x="520294" y="150842"/>
                  </a:lnTo>
                  <a:cubicBezTo>
                    <a:pt x="526853" y="150842"/>
                    <a:pt x="533411" y="150842"/>
                    <a:pt x="535597" y="155214"/>
                  </a:cubicBezTo>
                  <a:cubicBezTo>
                    <a:pt x="539970" y="159586"/>
                    <a:pt x="539970" y="163958"/>
                    <a:pt x="539970" y="177075"/>
                  </a:cubicBezTo>
                  <a:lnTo>
                    <a:pt x="539970" y="640531"/>
                  </a:lnTo>
                  <a:lnTo>
                    <a:pt x="675509" y="640531"/>
                  </a:lnTo>
                  <a:lnTo>
                    <a:pt x="675509" y="192378"/>
                  </a:lnTo>
                  <a:cubicBezTo>
                    <a:pt x="671136" y="26233"/>
                    <a:pt x="627414" y="0"/>
                    <a:pt x="489689" y="0"/>
                  </a:cubicBezTo>
                  <a:close/>
                </a:path>
              </a:pathLst>
            </a:custGeom>
            <a:solidFill>
              <a:srgbClr val="000000"/>
            </a:solidFill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5194275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7" r:id="rId2"/>
    <p:sldLayoutId id="2147483660" r:id="rId3"/>
    <p:sldLayoutId id="2147483661" r:id="rId4"/>
    <p:sldLayoutId id="2147483650" r:id="rId5"/>
    <p:sldLayoutId id="2147483654" r:id="rId6"/>
    <p:sldLayoutId id="2147483659" r:id="rId7"/>
    <p:sldLayoutId id="2147483664" r:id="rId8"/>
    <p:sldLayoutId id="2147483669" r:id="rId9"/>
    <p:sldLayoutId id="2147483670" r:id="rId10"/>
    <p:sldLayoutId id="2147483662" r:id="rId11"/>
    <p:sldLayoutId id="2147483666" r:id="rId12"/>
    <p:sldLayoutId id="2147483655" r:id="rId13"/>
    <p:sldLayoutId id="2147483665" r:id="rId14"/>
    <p:sldLayoutId id="2147483667" r:id="rId15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0000"/>
        </a:lnSpc>
        <a:spcBef>
          <a:spcPts val="1200"/>
        </a:spcBef>
        <a:buFont typeface="Symbol" panose="05050102010706020507" pitchFamily="18" charset="2"/>
        <a:buChar char="-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Symbol" panose="05050102010706020507" pitchFamily="18" charset="2"/>
        <a:buChar char="-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ymbol" panose="05050102010706020507" pitchFamily="18" charset="2"/>
        <a:buChar char="-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lnSpc>
          <a:spcPct val="100000"/>
        </a:lnSpc>
        <a:spcBef>
          <a:spcPts val="100"/>
        </a:spcBef>
        <a:spcAft>
          <a:spcPts val="100"/>
        </a:spcAft>
        <a:buFont typeface="Symbol" panose="05050102010706020507" pitchFamily="18" charset="2"/>
        <a:buChar char="-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-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55" userDrawn="1">
          <p15:clr>
            <a:srgbClr val="F26B43"/>
          </p15:clr>
        </p15:guide>
        <p15:guide id="2" pos="257" userDrawn="1">
          <p15:clr>
            <a:srgbClr val="F26B43"/>
          </p15:clr>
        </p15:guide>
        <p15:guide id="3" pos="7423" userDrawn="1">
          <p15:clr>
            <a:srgbClr val="F26B43"/>
          </p15:clr>
        </p15:guide>
        <p15:guide id="4" orient="horz" pos="4156" userDrawn="1">
          <p15:clr>
            <a:srgbClr val="F26B43"/>
          </p15:clr>
        </p15:guide>
        <p15:guide id="5" orient="horz" pos="1298" userDrawn="1">
          <p15:clr>
            <a:srgbClr val="F26B43"/>
          </p15:clr>
        </p15:guide>
        <p15:guide id="6" orient="horz" pos="3906" userDrawn="1">
          <p15:clr>
            <a:srgbClr val="F26B43"/>
          </p15:clr>
        </p15:guide>
        <p15:guide id="7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13" Type="http://schemas.openxmlformats.org/officeDocument/2006/relationships/tags" Target="../tags/tag32.xml"/><Relationship Id="rId18" Type="http://schemas.openxmlformats.org/officeDocument/2006/relationships/oleObject" Target="../embeddings/oleObject17.bin"/><Relationship Id="rId3" Type="http://schemas.openxmlformats.org/officeDocument/2006/relationships/tags" Target="../tags/tag22.xml"/><Relationship Id="rId21" Type="http://schemas.openxmlformats.org/officeDocument/2006/relationships/image" Target="../media/image7.png"/><Relationship Id="rId7" Type="http://schemas.openxmlformats.org/officeDocument/2006/relationships/tags" Target="../tags/tag26.xml"/><Relationship Id="rId12" Type="http://schemas.openxmlformats.org/officeDocument/2006/relationships/tags" Target="../tags/tag31.xml"/><Relationship Id="rId17" Type="http://schemas.openxmlformats.org/officeDocument/2006/relationships/notesSlide" Target="../notesSlides/notesSlide1.xml"/><Relationship Id="rId2" Type="http://schemas.openxmlformats.org/officeDocument/2006/relationships/tags" Target="../tags/tag21.xml"/><Relationship Id="rId16" Type="http://schemas.openxmlformats.org/officeDocument/2006/relationships/slideLayout" Target="../slideLayouts/slideLayout6.xml"/><Relationship Id="rId20" Type="http://schemas.openxmlformats.org/officeDocument/2006/relationships/image" Target="../media/image6.png"/><Relationship Id="rId1" Type="http://schemas.openxmlformats.org/officeDocument/2006/relationships/tags" Target="../tags/tag20.xml"/><Relationship Id="rId6" Type="http://schemas.openxmlformats.org/officeDocument/2006/relationships/tags" Target="../tags/tag25.xml"/><Relationship Id="rId11" Type="http://schemas.openxmlformats.org/officeDocument/2006/relationships/tags" Target="../tags/tag30.xml"/><Relationship Id="rId24" Type="http://schemas.openxmlformats.org/officeDocument/2006/relationships/image" Target="../media/image10.png"/><Relationship Id="rId5" Type="http://schemas.openxmlformats.org/officeDocument/2006/relationships/tags" Target="../tags/tag24.xml"/><Relationship Id="rId15" Type="http://schemas.openxmlformats.org/officeDocument/2006/relationships/tags" Target="../tags/tag34.xml"/><Relationship Id="rId23" Type="http://schemas.openxmlformats.org/officeDocument/2006/relationships/image" Target="../media/image9.png"/><Relationship Id="rId10" Type="http://schemas.openxmlformats.org/officeDocument/2006/relationships/tags" Target="../tags/tag29.xml"/><Relationship Id="rId19" Type="http://schemas.openxmlformats.org/officeDocument/2006/relationships/image" Target="../media/image1.emf"/><Relationship Id="rId4" Type="http://schemas.openxmlformats.org/officeDocument/2006/relationships/tags" Target="../tags/tag23.xml"/><Relationship Id="rId9" Type="http://schemas.openxmlformats.org/officeDocument/2006/relationships/tags" Target="../tags/tag28.xml"/><Relationship Id="rId14" Type="http://schemas.openxmlformats.org/officeDocument/2006/relationships/tags" Target="../tags/tag33.xml"/><Relationship Id="rId22" Type="http://schemas.openxmlformats.org/officeDocument/2006/relationships/image" Target="../media/image8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7.xml"/><Relationship Id="rId7" Type="http://schemas.openxmlformats.org/officeDocument/2006/relationships/oleObject" Target="../embeddings/oleObject18.bin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38.xml"/><Relationship Id="rId9" Type="http://schemas.openxmlformats.org/officeDocument/2006/relationships/image" Target="../media/image11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46.xml"/><Relationship Id="rId13" Type="http://schemas.openxmlformats.org/officeDocument/2006/relationships/slideLayout" Target="../slideLayouts/slideLayout6.xml"/><Relationship Id="rId18" Type="http://schemas.openxmlformats.org/officeDocument/2006/relationships/image" Target="../media/image13.png"/><Relationship Id="rId3" Type="http://schemas.openxmlformats.org/officeDocument/2006/relationships/tags" Target="../tags/tag41.xml"/><Relationship Id="rId7" Type="http://schemas.openxmlformats.org/officeDocument/2006/relationships/tags" Target="../tags/tag45.xml"/><Relationship Id="rId12" Type="http://schemas.openxmlformats.org/officeDocument/2006/relationships/tags" Target="../tags/tag50.xml"/><Relationship Id="rId17" Type="http://schemas.openxmlformats.org/officeDocument/2006/relationships/image" Target="../media/image12.png"/><Relationship Id="rId2" Type="http://schemas.openxmlformats.org/officeDocument/2006/relationships/tags" Target="../tags/tag40.xml"/><Relationship Id="rId16" Type="http://schemas.openxmlformats.org/officeDocument/2006/relationships/image" Target="../media/image1.emf"/><Relationship Id="rId1" Type="http://schemas.openxmlformats.org/officeDocument/2006/relationships/tags" Target="../tags/tag39.xml"/><Relationship Id="rId6" Type="http://schemas.openxmlformats.org/officeDocument/2006/relationships/tags" Target="../tags/tag44.xml"/><Relationship Id="rId11" Type="http://schemas.openxmlformats.org/officeDocument/2006/relationships/tags" Target="../tags/tag49.xml"/><Relationship Id="rId5" Type="http://schemas.openxmlformats.org/officeDocument/2006/relationships/tags" Target="../tags/tag43.xml"/><Relationship Id="rId15" Type="http://schemas.openxmlformats.org/officeDocument/2006/relationships/oleObject" Target="../embeddings/oleObject19.bin"/><Relationship Id="rId10" Type="http://schemas.openxmlformats.org/officeDocument/2006/relationships/tags" Target="../tags/tag48.xml"/><Relationship Id="rId19" Type="http://schemas.openxmlformats.org/officeDocument/2006/relationships/image" Target="../media/image14.png"/><Relationship Id="rId4" Type="http://schemas.openxmlformats.org/officeDocument/2006/relationships/tags" Target="../tags/tag42.xml"/><Relationship Id="rId9" Type="http://schemas.openxmlformats.org/officeDocument/2006/relationships/tags" Target="../tags/tag47.xml"/><Relationship Id="rId1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58.xml"/><Relationship Id="rId13" Type="http://schemas.openxmlformats.org/officeDocument/2006/relationships/notesSlide" Target="../notesSlides/notesSlide4.xml"/><Relationship Id="rId18" Type="http://schemas.openxmlformats.org/officeDocument/2006/relationships/image" Target="../media/image17.png"/><Relationship Id="rId3" Type="http://schemas.openxmlformats.org/officeDocument/2006/relationships/tags" Target="../tags/tag53.xml"/><Relationship Id="rId7" Type="http://schemas.openxmlformats.org/officeDocument/2006/relationships/tags" Target="../tags/tag57.xml"/><Relationship Id="rId12" Type="http://schemas.openxmlformats.org/officeDocument/2006/relationships/slideLayout" Target="../slideLayouts/slideLayout6.xml"/><Relationship Id="rId17" Type="http://schemas.openxmlformats.org/officeDocument/2006/relationships/image" Target="../media/image16.png"/><Relationship Id="rId2" Type="http://schemas.openxmlformats.org/officeDocument/2006/relationships/tags" Target="../tags/tag52.xml"/><Relationship Id="rId16" Type="http://schemas.openxmlformats.org/officeDocument/2006/relationships/image" Target="../media/image15.png"/><Relationship Id="rId1" Type="http://schemas.openxmlformats.org/officeDocument/2006/relationships/tags" Target="../tags/tag51.xml"/><Relationship Id="rId6" Type="http://schemas.openxmlformats.org/officeDocument/2006/relationships/tags" Target="../tags/tag56.xml"/><Relationship Id="rId11" Type="http://schemas.openxmlformats.org/officeDocument/2006/relationships/tags" Target="../tags/tag61.xml"/><Relationship Id="rId5" Type="http://schemas.openxmlformats.org/officeDocument/2006/relationships/tags" Target="../tags/tag55.xml"/><Relationship Id="rId15" Type="http://schemas.openxmlformats.org/officeDocument/2006/relationships/image" Target="../media/image1.emf"/><Relationship Id="rId10" Type="http://schemas.openxmlformats.org/officeDocument/2006/relationships/tags" Target="../tags/tag60.xml"/><Relationship Id="rId4" Type="http://schemas.openxmlformats.org/officeDocument/2006/relationships/tags" Target="../tags/tag54.xml"/><Relationship Id="rId9" Type="http://schemas.openxmlformats.org/officeDocument/2006/relationships/tags" Target="../tags/tag59.xml"/><Relationship Id="rId14" Type="http://schemas.openxmlformats.org/officeDocument/2006/relationships/oleObject" Target="../embeddings/oleObject20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69.xml"/><Relationship Id="rId13" Type="http://schemas.openxmlformats.org/officeDocument/2006/relationships/tags" Target="../tags/tag74.xml"/><Relationship Id="rId18" Type="http://schemas.openxmlformats.org/officeDocument/2006/relationships/image" Target="../media/image1.emf"/><Relationship Id="rId3" Type="http://schemas.openxmlformats.org/officeDocument/2006/relationships/tags" Target="../tags/tag64.xml"/><Relationship Id="rId7" Type="http://schemas.openxmlformats.org/officeDocument/2006/relationships/tags" Target="../tags/tag68.xml"/><Relationship Id="rId12" Type="http://schemas.openxmlformats.org/officeDocument/2006/relationships/tags" Target="../tags/tag73.xml"/><Relationship Id="rId17" Type="http://schemas.openxmlformats.org/officeDocument/2006/relationships/oleObject" Target="../embeddings/oleObject21.bin"/><Relationship Id="rId2" Type="http://schemas.openxmlformats.org/officeDocument/2006/relationships/tags" Target="../tags/tag63.xml"/><Relationship Id="rId16" Type="http://schemas.openxmlformats.org/officeDocument/2006/relationships/notesSlide" Target="../notesSlides/notesSlide5.xml"/><Relationship Id="rId1" Type="http://schemas.openxmlformats.org/officeDocument/2006/relationships/tags" Target="../tags/tag62.xml"/><Relationship Id="rId6" Type="http://schemas.openxmlformats.org/officeDocument/2006/relationships/tags" Target="../tags/tag67.xml"/><Relationship Id="rId11" Type="http://schemas.openxmlformats.org/officeDocument/2006/relationships/tags" Target="../tags/tag72.xml"/><Relationship Id="rId5" Type="http://schemas.openxmlformats.org/officeDocument/2006/relationships/tags" Target="../tags/tag66.xml"/><Relationship Id="rId15" Type="http://schemas.openxmlformats.org/officeDocument/2006/relationships/slideLayout" Target="../slideLayouts/slideLayout6.xml"/><Relationship Id="rId10" Type="http://schemas.openxmlformats.org/officeDocument/2006/relationships/tags" Target="../tags/tag71.xml"/><Relationship Id="rId19" Type="http://schemas.openxmlformats.org/officeDocument/2006/relationships/chart" Target="../charts/chart1.xml"/><Relationship Id="rId4" Type="http://schemas.openxmlformats.org/officeDocument/2006/relationships/tags" Target="../tags/tag65.xml"/><Relationship Id="rId9" Type="http://schemas.openxmlformats.org/officeDocument/2006/relationships/tags" Target="../tags/tag70.xml"/><Relationship Id="rId14" Type="http://schemas.openxmlformats.org/officeDocument/2006/relationships/tags" Target="../tags/tag75.xml"/></Relationships>
</file>

<file path=ppt/slides/_rels/slide6.xml.rels><?xml version="1.0" encoding="UTF-8" standalone="yes"?>
<Relationships xmlns="http://schemas.openxmlformats.org/package/2006/relationships"><Relationship Id="rId13" Type="http://schemas.openxmlformats.org/officeDocument/2006/relationships/tags" Target="../tags/tag88.xml"/><Relationship Id="rId18" Type="http://schemas.openxmlformats.org/officeDocument/2006/relationships/tags" Target="../tags/tag93.xml"/><Relationship Id="rId26" Type="http://schemas.openxmlformats.org/officeDocument/2006/relationships/slideLayout" Target="../slideLayouts/slideLayout6.xml"/><Relationship Id="rId3" Type="http://schemas.openxmlformats.org/officeDocument/2006/relationships/tags" Target="../tags/tag78.xml"/><Relationship Id="rId21" Type="http://schemas.openxmlformats.org/officeDocument/2006/relationships/tags" Target="../tags/tag96.xml"/><Relationship Id="rId34" Type="http://schemas.openxmlformats.org/officeDocument/2006/relationships/image" Target="../media/image22.png"/><Relationship Id="rId7" Type="http://schemas.openxmlformats.org/officeDocument/2006/relationships/tags" Target="../tags/tag82.xml"/><Relationship Id="rId12" Type="http://schemas.openxmlformats.org/officeDocument/2006/relationships/tags" Target="../tags/tag87.xml"/><Relationship Id="rId17" Type="http://schemas.openxmlformats.org/officeDocument/2006/relationships/tags" Target="../tags/tag92.xml"/><Relationship Id="rId25" Type="http://schemas.openxmlformats.org/officeDocument/2006/relationships/tags" Target="../tags/tag100.xml"/><Relationship Id="rId33" Type="http://schemas.openxmlformats.org/officeDocument/2006/relationships/image" Target="../media/image21.png"/><Relationship Id="rId2" Type="http://schemas.openxmlformats.org/officeDocument/2006/relationships/tags" Target="../tags/tag77.xml"/><Relationship Id="rId16" Type="http://schemas.openxmlformats.org/officeDocument/2006/relationships/tags" Target="../tags/tag91.xml"/><Relationship Id="rId20" Type="http://schemas.openxmlformats.org/officeDocument/2006/relationships/tags" Target="../tags/tag95.xml"/><Relationship Id="rId29" Type="http://schemas.openxmlformats.org/officeDocument/2006/relationships/image" Target="../media/image1.emf"/><Relationship Id="rId1" Type="http://schemas.openxmlformats.org/officeDocument/2006/relationships/tags" Target="../tags/tag76.xml"/><Relationship Id="rId6" Type="http://schemas.openxmlformats.org/officeDocument/2006/relationships/tags" Target="../tags/tag81.xml"/><Relationship Id="rId11" Type="http://schemas.openxmlformats.org/officeDocument/2006/relationships/tags" Target="../tags/tag86.xml"/><Relationship Id="rId24" Type="http://schemas.openxmlformats.org/officeDocument/2006/relationships/tags" Target="../tags/tag99.xml"/><Relationship Id="rId32" Type="http://schemas.openxmlformats.org/officeDocument/2006/relationships/image" Target="../media/image20.png"/><Relationship Id="rId5" Type="http://schemas.openxmlformats.org/officeDocument/2006/relationships/tags" Target="../tags/tag80.xml"/><Relationship Id="rId15" Type="http://schemas.openxmlformats.org/officeDocument/2006/relationships/tags" Target="../tags/tag90.xml"/><Relationship Id="rId23" Type="http://schemas.openxmlformats.org/officeDocument/2006/relationships/tags" Target="../tags/tag98.xml"/><Relationship Id="rId28" Type="http://schemas.openxmlformats.org/officeDocument/2006/relationships/oleObject" Target="../embeddings/oleObject22.bin"/><Relationship Id="rId10" Type="http://schemas.openxmlformats.org/officeDocument/2006/relationships/tags" Target="../tags/tag85.xml"/><Relationship Id="rId19" Type="http://schemas.openxmlformats.org/officeDocument/2006/relationships/tags" Target="../tags/tag94.xml"/><Relationship Id="rId31" Type="http://schemas.openxmlformats.org/officeDocument/2006/relationships/image" Target="../media/image19.png"/><Relationship Id="rId4" Type="http://schemas.openxmlformats.org/officeDocument/2006/relationships/tags" Target="../tags/tag79.xml"/><Relationship Id="rId9" Type="http://schemas.openxmlformats.org/officeDocument/2006/relationships/tags" Target="../tags/tag84.xml"/><Relationship Id="rId14" Type="http://schemas.openxmlformats.org/officeDocument/2006/relationships/tags" Target="../tags/tag89.xml"/><Relationship Id="rId22" Type="http://schemas.openxmlformats.org/officeDocument/2006/relationships/tags" Target="../tags/tag97.xml"/><Relationship Id="rId27" Type="http://schemas.openxmlformats.org/officeDocument/2006/relationships/notesSlide" Target="../notesSlides/notesSlide6.xml"/><Relationship Id="rId30" Type="http://schemas.openxmlformats.org/officeDocument/2006/relationships/image" Target="../media/image18.png"/><Relationship Id="rId35" Type="http://schemas.openxmlformats.org/officeDocument/2006/relationships/image" Target="../media/image23.png"/><Relationship Id="rId8" Type="http://schemas.openxmlformats.org/officeDocument/2006/relationships/tags" Target="../tags/tag83.xml"/></Relationships>
</file>

<file path=ppt/slides/slide1.xml><?xml version="1.0" encoding="utf-8"?>
<p:sld xmlns:a16="http://schemas.microsoft.com/office/drawing/2014/main" xmlns:p14="http://schemas.microsoft.com/office/powerpoint/2010/main" xmlns:mc="http://schemas.openxmlformats.org/markup-compatibility/2006" xmlns:v="urn:schemas-microsoft-com:vml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FE38C098-E511-202F-B709-2B7ABE8B42E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4558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592" imgH="591" progId="TCLayout.ActiveDocument.1">
                  <p:embed/>
                </p:oleObj>
              </mc:Choice>
              <mc:Fallback>
                <p:oleObj name="think-cell Folie" r:id="rId18" imgW="592" imgH="591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FE38C098-E511-202F-B709-2B7ABE8B42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7929EF34-08D0-914A-BD20-42EDA96819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Quick guide (1/6)</a:t>
            </a:r>
            <a:endParaRPr lang="en-US" dirty="0"/>
          </a:p>
        </p:txBody>
      </p:sp>
      <p:cxnSp>
        <p:nvCxnSpPr>
          <p:cNvPr id="8" name="Rak 16">
            <a:extLst>
              <a:ext uri="{FF2B5EF4-FFF2-40B4-BE49-F238E27FC236}">
                <a16:creationId xmlns:a16="http://schemas.microsoft.com/office/drawing/2014/main" id="{886622D0-3F35-20B1-2DC8-C83AF869B835}"/>
              </a:ext>
            </a:extLst>
          </p:cNvPr>
          <p:cNvCxnSpPr>
            <a:cxnSpLocks/>
          </p:cNvCxnSpPr>
          <p:nvPr/>
        </p:nvCxnSpPr>
        <p:spPr>
          <a:xfrm>
            <a:off x="7592590" y="2060847"/>
            <a:ext cx="0" cy="388937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ruta 6">
            <a:extLst>
              <a:ext uri="{FF2B5EF4-FFF2-40B4-BE49-F238E27FC236}">
                <a16:creationId xmlns:a16="http://schemas.microsoft.com/office/drawing/2014/main" id="{7B8A91FB-2F69-781C-22D8-B05F41EAF0C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07989" y="2060847"/>
            <a:ext cx="4691173" cy="2564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defRPr sz="1200" b="1" spc="10">
                <a:solidFill>
                  <a:schemeClr val="accent2"/>
                </a:solidFill>
                <a:latin typeface="+mj-lt"/>
              </a:defRPr>
            </a:lvl1pPr>
          </a:lstStyle>
          <a:p>
            <a:pPr>
              <a:defRPr/>
            </a:pPr>
            <a:r>
              <a:rPr lang="de-DE" sz="1600" b="0" dirty="0">
                <a:solidFill>
                  <a:schemeClr val="tx1"/>
                </a:solidFill>
              </a:rPr>
              <a:t>Always use the predefined layouts</a:t>
            </a:r>
          </a:p>
        </p:txBody>
      </p:sp>
      <p:sp>
        <p:nvSpPr>
          <p:cNvPr id="10" name="textruta 10">
            <a:extLst>
              <a:ext uri="{FF2B5EF4-FFF2-40B4-BE49-F238E27FC236}">
                <a16:creationId xmlns:a16="http://schemas.microsoft.com/office/drawing/2014/main" id="{418BB38F-9ABF-4E26-8364-4793A63D0DF8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407989" y="3324070"/>
            <a:ext cx="1366849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normalizeH="0" baseline="0" noProof="0" dirty="0">
                <a:ln>
                  <a:noFill/>
                </a:ln>
                <a:effectLst/>
                <a:uLnTx/>
                <a:uFillTx/>
              </a:rPr>
              <a:t>Click on </a:t>
            </a:r>
            <a:br>
              <a:rPr kumimoji="0" lang="de-DE" sz="1200" b="0" i="0" u="none" strike="noStrike" kern="1200" cap="none" normalizeH="0" baseline="0" noProof="0" dirty="0">
                <a:ln>
                  <a:noFill/>
                </a:ln>
                <a:effectLst/>
                <a:uLnTx/>
                <a:uFillTx/>
              </a:rPr>
            </a:br>
            <a:r>
              <a:rPr lang="de-DE" sz="1200" dirty="0"/>
              <a:t>New slide </a:t>
            </a:r>
            <a:r>
              <a:rPr kumimoji="0" lang="de-DE" sz="1200" b="0" i="0" u="none" strike="noStrike" kern="1200" cap="none" normalizeH="0" baseline="0" noProof="0" dirty="0">
                <a:ln>
                  <a:noFill/>
                </a:ln>
                <a:effectLst/>
                <a:uLnTx/>
                <a:uFillTx/>
              </a:rPr>
              <a:t>to </a:t>
            </a:r>
            <a:r>
              <a:rPr kumimoji="0" lang="de-DE" sz="1200" b="0" i="0" u="none" strike="noStrike" kern="1200" cap="none" normalizeH="0" baseline="0" noProof="0" dirty="0" err="1">
                <a:ln>
                  <a:noFill/>
                </a:ln>
                <a:effectLst/>
                <a:uLnTx/>
                <a:uFillTx/>
              </a:rPr>
              <a:t>select </a:t>
            </a:r>
            <a:r>
              <a:rPr kumimoji="0" lang="de-DE" sz="1200" b="0" i="0" u="none" strike="noStrike" kern="1200" cap="none" normalizeH="0" baseline="0" noProof="0" dirty="0">
                <a:ln>
                  <a:noFill/>
                </a:ln>
                <a:effectLst/>
                <a:uLnTx/>
                <a:uFillTx/>
              </a:rPr>
              <a:t>different layouts</a:t>
            </a:r>
            <a:r>
              <a:rPr kumimoji="0" lang="de-DE" sz="1200" b="0" i="0" u="none" strike="noStrike" kern="1200" cap="none" normalizeH="0" baseline="0" noProof="0" dirty="0">
                <a:ln>
                  <a:noFill/>
                </a:ln>
                <a:effectLst/>
                <a:uLnTx/>
                <a:uFillTx/>
              </a:rPr>
              <a:t>.</a:t>
            </a:r>
          </a:p>
        </p:txBody>
      </p:sp>
      <p:sp>
        <p:nvSpPr>
          <p:cNvPr id="11" name="textruta 15">
            <a:extLst>
              <a:ext uri="{FF2B5EF4-FFF2-40B4-BE49-F238E27FC236}">
                <a16:creationId xmlns:a16="http://schemas.microsoft.com/office/drawing/2014/main" id="{CC3C6BC7-4B2E-0660-2E6C-AA1035E931B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912257" y="2524191"/>
            <a:ext cx="2021306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normalizeH="0" baseline="0" noProof="0" dirty="0">
                <a:ln>
                  <a:noFill/>
                </a:ln>
                <a:effectLst/>
                <a:uLnTx/>
                <a:uFillTx/>
              </a:rPr>
              <a:t>Click on </a:t>
            </a:r>
            <a:r>
              <a:rPr kumimoji="0" lang="de-DE" sz="1200" i="0" u="none" strike="noStrike" kern="1200" cap="none" normalizeH="0" baseline="0" noProof="0" dirty="0">
                <a:ln>
                  <a:noFill/>
                </a:ln>
                <a:effectLst/>
                <a:uLnTx/>
                <a:uFillTx/>
              </a:rPr>
              <a:t>Layout </a:t>
            </a:r>
            <a:r>
              <a:rPr kumimoji="0" lang="de-DE" sz="1200" b="0" i="0" u="none" strike="noStrike" kern="1200" cap="none" normalizeH="0" baseline="0" noProof="0" dirty="0">
                <a:ln>
                  <a:noFill/>
                </a:ln>
                <a:effectLst/>
                <a:uLnTx/>
                <a:uFillTx/>
              </a:rPr>
              <a:t>to change the layout on an existing page</a:t>
            </a:r>
            <a:r>
              <a:rPr kumimoji="0" lang="de-DE" sz="1200" b="0" i="0" u="none" strike="noStrike" kern="1200" cap="none" normalizeH="0" baseline="0" noProof="0" dirty="0">
                <a:ln>
                  <a:noFill/>
                </a:ln>
                <a:effectLst/>
                <a:uLnTx/>
                <a:uFillTx/>
              </a:rPr>
              <a:t>. </a:t>
            </a:r>
            <a:br>
              <a:rPr kumimoji="0" lang="de-DE" sz="1200" b="0" i="0" u="none" strike="noStrike" kern="1200" cap="none" normalizeH="0" baseline="0" noProof="0" dirty="0">
                <a:ln>
                  <a:noFill/>
                </a:ln>
                <a:effectLst/>
                <a:uLnTx/>
                <a:uFillTx/>
              </a:rPr>
            </a:br>
            <a:r>
              <a:rPr kumimoji="0" lang="de-DE" sz="1200" b="0" i="0" u="none" strike="noStrike" kern="1200" cap="none" normalizeH="0" baseline="0" noProof="0" dirty="0">
                <a:ln>
                  <a:noFill/>
                </a:ln>
                <a:effectLst/>
                <a:uLnTx/>
                <a:uFillTx/>
              </a:rPr>
              <a:t>page.</a:t>
            </a:r>
          </a:p>
        </p:txBody>
      </p:sp>
      <p:sp>
        <p:nvSpPr>
          <p:cNvPr id="12" name="textruta 34">
            <a:extLst>
              <a:ext uri="{FF2B5EF4-FFF2-40B4-BE49-F238E27FC236}">
                <a16:creationId xmlns:a16="http://schemas.microsoft.com/office/drawing/2014/main" id="{EF618B75-0990-83D1-BC77-D8AEE3FB2875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912257" y="4413624"/>
            <a:ext cx="2021310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normalizeH="0" baseline="0" noProof="0" dirty="0">
                <a:ln>
                  <a:noFill/>
                </a:ln>
                <a:effectLst/>
                <a:uLnTx/>
                <a:uFillTx/>
              </a:rPr>
              <a:t>Click on the </a:t>
            </a:r>
            <a:r>
              <a:rPr lang="de-DE" sz="1200" dirty="0"/>
              <a:t>Reset </a:t>
            </a:r>
            <a:r>
              <a:rPr kumimoji="0" lang="de-DE" sz="1200" b="0" i="0" u="none" strike="noStrike" kern="1200" cap="none" normalizeH="0" baseline="0" noProof="0" dirty="0">
                <a:ln>
                  <a:noFill/>
                </a:ln>
                <a:effectLst/>
                <a:uLnTx/>
                <a:uFillTx/>
              </a:rPr>
              <a:t>button </a:t>
            </a:r>
            <a:r>
              <a:rPr kumimoji="0" lang="de-DE" sz="1200" b="0" i="0" u="none" strike="noStrike" kern="1200" cap="none" normalizeH="0" baseline="0" noProof="0" dirty="0">
                <a:ln>
                  <a:noFill/>
                </a:ln>
                <a:effectLst/>
                <a:uLnTx/>
                <a:uFillTx/>
              </a:rPr>
              <a:t>to reset the appearance of the page according to the template </a:t>
            </a:r>
            <a:br>
              <a:rPr kumimoji="0" lang="de-DE" sz="1200" b="0" i="0" u="none" strike="noStrike" kern="1200" cap="none" normalizeH="0" baseline="0" noProof="0" dirty="0">
                <a:ln>
                  <a:noFill/>
                </a:ln>
                <a:effectLst/>
                <a:uLnTx/>
                <a:uFillTx/>
              </a:rPr>
            </a:br>
            <a:r>
              <a:rPr kumimoji="0" lang="de-DE" sz="1200" b="0" i="0" u="none" strike="noStrike" kern="1200" cap="none" normalizeH="0" baseline="0" noProof="0" dirty="0">
                <a:ln>
                  <a:noFill/>
                </a:ln>
                <a:effectLst/>
                <a:uLnTx/>
                <a:uFillTx/>
              </a:rPr>
              <a:t>to the original layout. </a:t>
            </a:r>
            <a:br>
              <a:rPr kumimoji="0" lang="de-DE" sz="1200" b="0" i="0" u="none" strike="noStrike" kern="1200" cap="none" normalizeH="0" baseline="0" noProof="0" dirty="0">
                <a:ln>
                  <a:noFill/>
                </a:ln>
                <a:effectLst/>
                <a:uLnTx/>
                <a:uFillTx/>
              </a:rPr>
            </a:br>
            <a:r>
              <a:rPr kumimoji="0" lang="de-DE" sz="1200" b="0" i="0" u="none" strike="noStrike" kern="1200" cap="none" normalizeH="0" baseline="0" noProof="0" dirty="0">
                <a:ln>
                  <a:noFill/>
                </a:ln>
                <a:effectLst/>
                <a:uLnTx/>
                <a:uFillTx/>
              </a:rPr>
              <a:t>layout according to the template. </a:t>
            </a:r>
          </a:p>
        </p:txBody>
      </p:sp>
      <p:pic>
        <p:nvPicPr>
          <p:cNvPr id="13" name="Bildobjekt 91">
            <a:extLst>
              <a:ext uri="{FF2B5EF4-FFF2-40B4-BE49-F238E27FC236}">
                <a16:creationId xmlns:a16="http://schemas.microsoft.com/office/drawing/2014/main" id="{56D7C703-41AC-D7B5-EBD7-00FDBE6167C0}"/>
              </a:ext>
            </a:extLst>
          </p:cNvPr>
          <p:cNvPicPr>
            <a:picLocks noChangeAspect="1"/>
          </p:cNvPicPr>
          <p:nvPr/>
        </p:nvPicPr>
        <p:blipFill>
          <a:blip r:embed="rId20"/>
          <a:srcRect/>
          <a:stretch/>
        </p:blipFill>
        <p:spPr>
          <a:xfrm>
            <a:off x="2078890" y="3280198"/>
            <a:ext cx="1342574" cy="891984"/>
          </a:xfrm>
          <a:prstGeom prst="rect">
            <a:avLst/>
          </a:prstGeom>
          <a:ln>
            <a:noFill/>
          </a:ln>
        </p:spPr>
      </p:pic>
      <p:sp>
        <p:nvSpPr>
          <p:cNvPr id="14" name="Oval 4">
            <a:extLst>
              <a:ext uri="{FF2B5EF4-FFF2-40B4-BE49-F238E27FC236}">
                <a16:creationId xmlns:a16="http://schemas.microsoft.com/office/drawing/2014/main" id="{76A93A96-05CA-A7EE-30F9-5F911CCEF05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2522185" y="3517128"/>
            <a:ext cx="894977" cy="216704"/>
          </a:xfrm>
          <a:prstGeom prst="rect">
            <a:avLst/>
          </a:prstGeom>
          <a:solidFill>
            <a:schemeClr val="tx2">
              <a:alpha val="4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</a:endParaRP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66F0EDB4-4651-AACE-65DE-45846A797FE3}"/>
              </a:ext>
            </a:extLst>
          </p:cNvPr>
          <p:cNvCxnSpPr>
            <a:cxnSpLocks/>
          </p:cNvCxnSpPr>
          <p:nvPr/>
        </p:nvCxnSpPr>
        <p:spPr>
          <a:xfrm flipV="1">
            <a:off x="3037280" y="3131622"/>
            <a:ext cx="0" cy="138987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Oval 4">
            <a:extLst>
              <a:ext uri="{FF2B5EF4-FFF2-40B4-BE49-F238E27FC236}">
                <a16:creationId xmlns:a16="http://schemas.microsoft.com/office/drawing/2014/main" id="{869405BF-33C1-3F60-80B8-A661946D9D15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2522185" y="3297287"/>
            <a:ext cx="894977" cy="216704"/>
          </a:xfrm>
          <a:prstGeom prst="rect">
            <a:avLst/>
          </a:prstGeom>
          <a:solidFill>
            <a:schemeClr val="tx2">
              <a:alpha val="4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</a:endParaRPr>
          </a:p>
        </p:txBody>
      </p:sp>
      <p:sp>
        <p:nvSpPr>
          <p:cNvPr id="17" name="Oval 4">
            <a:extLst>
              <a:ext uri="{FF2B5EF4-FFF2-40B4-BE49-F238E27FC236}">
                <a16:creationId xmlns:a16="http://schemas.microsoft.com/office/drawing/2014/main" id="{AF7F64B8-13F4-ABD3-D350-EC1B1C7E5183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2070397" y="3297287"/>
            <a:ext cx="408706" cy="682145"/>
          </a:xfrm>
          <a:prstGeom prst="rect">
            <a:avLst/>
          </a:prstGeom>
          <a:solidFill>
            <a:schemeClr val="tx2">
              <a:alpha val="4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</a:endParaRPr>
          </a:p>
        </p:txBody>
      </p: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68D7B582-8EE0-81F1-47A4-6BBB19DE4451}"/>
              </a:ext>
            </a:extLst>
          </p:cNvPr>
          <p:cNvCxnSpPr>
            <a:cxnSpLocks/>
          </p:cNvCxnSpPr>
          <p:nvPr/>
        </p:nvCxnSpPr>
        <p:spPr>
          <a:xfrm>
            <a:off x="2868238" y="4216550"/>
            <a:ext cx="0" cy="18880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E2467178-A898-392C-F6C1-B4DC41E0F840}"/>
              </a:ext>
            </a:extLst>
          </p:cNvPr>
          <p:cNvCxnSpPr>
            <a:cxnSpLocks/>
          </p:cNvCxnSpPr>
          <p:nvPr/>
        </p:nvCxnSpPr>
        <p:spPr>
          <a:xfrm>
            <a:off x="1928492" y="3493925"/>
            <a:ext cx="14190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ruta 57">
            <a:extLst>
              <a:ext uri="{FF2B5EF4-FFF2-40B4-BE49-F238E27FC236}">
                <a16:creationId xmlns:a16="http://schemas.microsoft.com/office/drawing/2014/main" id="{D074D2B5-BEC2-57C2-0F0C-0927CACD50AD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7785000" y="2060847"/>
            <a:ext cx="3927624" cy="804323"/>
          </a:xfrm>
          <a:prstGeom prst="rect">
            <a:avLst/>
          </a:prstGeom>
          <a:noFill/>
        </p:spPr>
        <p:txBody>
          <a:bodyPr wrap="square" lIns="0" tIns="0" rIns="0" bIns="0" numCol="1" spcCol="180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i="0" u="none" strike="noStrike" kern="1200" cap="none" spc="10" normalizeH="0" baseline="0" noProof="0" dirty="0">
                <a:ln>
                  <a:noFill/>
                </a:ln>
                <a:effectLst/>
                <a:uLnTx/>
                <a:uFillTx/>
                <a:latin typeface="+mj-lt"/>
              </a:rPr>
              <a:t>Multifunctional layou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The layouts created with image placeholders can be used multiple time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9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Univers LT Std 47 Cn Lt" panose="020B0406020202040204" pitchFamily="34" charset="0"/>
              <a:ea typeface="+mn-ea"/>
              <a:cs typeface="+mn-cs"/>
            </a:endParaRP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3E618508-59C5-A3AD-2F60-53158E1E5841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7785000" y="3074014"/>
            <a:ext cx="426077" cy="41280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1.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2F0672B2-B749-BEE1-33D4-9A4CD4B3AE5A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8363642" y="3052999"/>
            <a:ext cx="54181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</a:rPr>
              <a:t>With picture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6B358A37-F57B-84C1-D7BA-DAF5B9C1C686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7785000" y="5467231"/>
            <a:ext cx="426077" cy="41280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dirty="0">
                <a:solidFill>
                  <a:prstClr val="white"/>
                </a:solidFill>
              </a:rPr>
              <a:t>3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.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C07998EE-37EB-45FF-AFBB-C09EDBA36538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8367754" y="5446214"/>
            <a:ext cx="2046331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</a:rPr>
              <a:t>With graphic </a:t>
            </a:r>
            <a:br>
              <a:rPr kumimoji="0" lang="de-DE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</a:rPr>
            </a:b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</a:rPr>
              <a:t>elements/</a:t>
            </a:r>
            <a:br>
              <a:rPr kumimoji="0" lang="de-DE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</a:rPr>
            </a:b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</a:rPr>
              <a:t>Illustrations</a:t>
            </a: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B100C2DC-DD30-CD40-B18C-291CD29D8604}"/>
              </a:ext>
            </a:extLst>
          </p:cNvPr>
          <p:cNvPicPr>
            <a:picLocks noChangeAspect="1"/>
          </p:cNvPicPr>
          <p:nvPr/>
        </p:nvPicPr>
        <p:blipFill>
          <a:blip r:embed="rId21"/>
          <a:srcRect/>
          <a:stretch/>
        </p:blipFill>
        <p:spPr>
          <a:xfrm>
            <a:off x="4254286" y="3042562"/>
            <a:ext cx="3145565" cy="3180438"/>
          </a:xfrm>
          <a:prstGeom prst="rect">
            <a:avLst/>
          </a:prstGeom>
        </p:spPr>
      </p:pic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8930A0BB-30D3-9FD0-7EB6-628792B74FB2}"/>
              </a:ext>
            </a:extLst>
          </p:cNvPr>
          <p:cNvGrpSpPr/>
          <p:nvPr/>
        </p:nvGrpSpPr>
        <p:grpSpPr>
          <a:xfrm>
            <a:off x="9989241" y="3042562"/>
            <a:ext cx="1794772" cy="3158213"/>
            <a:chOff x="9788788" y="3042562"/>
            <a:chExt cx="1995225" cy="3510944"/>
          </a:xfrm>
        </p:grpSpPr>
        <p:pic>
          <p:nvPicPr>
            <p:cNvPr id="27" name="Grafik 26">
              <a:extLst>
                <a:ext uri="{FF2B5EF4-FFF2-40B4-BE49-F238E27FC236}">
                  <a16:creationId xmlns:a16="http://schemas.microsoft.com/office/drawing/2014/main" id="{35FCC5A6-6FAF-F036-2C74-E02E1EF5FFA9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9788788" y="4236877"/>
              <a:ext cx="1995225" cy="1122314"/>
            </a:xfrm>
            <a:prstGeom prst="rect">
              <a:avLst/>
            </a:prstGeom>
          </p:spPr>
        </p:pic>
        <p:pic>
          <p:nvPicPr>
            <p:cNvPr id="28" name="Grafik 27">
              <a:extLst>
                <a:ext uri="{FF2B5EF4-FFF2-40B4-BE49-F238E27FC236}">
                  <a16:creationId xmlns:a16="http://schemas.microsoft.com/office/drawing/2014/main" id="{C6CDFC99-D9FC-7F4D-5310-830B034788B4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9788788" y="5431192"/>
              <a:ext cx="1995225" cy="1122314"/>
            </a:xfrm>
            <a:prstGeom prst="rect">
              <a:avLst/>
            </a:prstGeom>
          </p:spPr>
        </p:pic>
        <p:pic>
          <p:nvPicPr>
            <p:cNvPr id="30" name="Grafik 29">
              <a:extLst>
                <a:ext uri="{FF2B5EF4-FFF2-40B4-BE49-F238E27FC236}">
                  <a16:creationId xmlns:a16="http://schemas.microsoft.com/office/drawing/2014/main" id="{30077003-E59D-3210-620E-E54D8C4AEED8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/>
            <a:stretch>
              <a:fillRect/>
            </a:stretch>
          </p:blipFill>
          <p:spPr>
            <a:xfrm>
              <a:off x="9788788" y="3042562"/>
              <a:ext cx="1995225" cy="1122314"/>
            </a:xfrm>
            <a:prstGeom prst="rect">
              <a:avLst/>
            </a:prstGeom>
          </p:spPr>
        </p:pic>
      </p:grpSp>
      <p:sp>
        <p:nvSpPr>
          <p:cNvPr id="37" name="Rechteck 36">
            <a:extLst>
              <a:ext uri="{FF2B5EF4-FFF2-40B4-BE49-F238E27FC236}">
                <a16:creationId xmlns:a16="http://schemas.microsoft.com/office/drawing/2014/main" id="{53D42B5A-6B5E-C87D-68AF-EB624D2B2EE3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7785000" y="4289292"/>
            <a:ext cx="426077" cy="41280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2.</a:t>
            </a: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5E4CE748-F9B8-6DAC-118C-591B0A26221C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8367755" y="4268274"/>
            <a:ext cx="1274660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</a:rPr>
              <a:t>Without any other elements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1E0380D-ACAE-624B-4D99-79CD445BF7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oter via menu Insert-&gt; Header and footer 'Apply to all'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03BD979-A584-8CAE-8AE2-E1E9F1B4F7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Page 1</a:t>
            </a:r>
            <a:fld id="{63A738E5-7FE5-4F0E-80D4-9B95A408A0CB}" type="slidenum">
              <a:rPr lang="de-DE" smtClean="0"/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49433359"/>
      </p:ext>
    </p:extLst>
  </p:cSld>
  <p:clrMapOvr>
    <a:masterClrMapping/>
  </p:clrMapOvr>
</p:sld>
</file>

<file path=ppt/slides/slide2.xml><?xml version="1.0" encoding="utf-8"?>
<p:sld xmlns:a16="http://schemas.microsoft.com/office/drawing/2014/main" xmlns:p14="http://schemas.microsoft.com/office/powerpoint/2010/main" xmlns:mc="http://schemas.openxmlformats.org/markup-compatibility/2006" xmlns:v="urn:schemas-microsoft-com:vml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9A543A9-2818-B8BF-5B65-344F2A6E5A5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49644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" imgW="592" imgH="591" progId="TCLayout.ActiveDocument.1">
                  <p:embed/>
                </p:oleObj>
              </mc:Choice>
              <mc:Fallback>
                <p:oleObj name="think-cell Folie" r:id="rId7" imgW="592" imgH="591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9A543A9-2818-B8BF-5B65-344F2A6E5A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8862D62-4293-2A0A-2E65-17221DAD3F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Quick guide (2/6)</a:t>
            </a:r>
            <a:endParaRPr lang="en-US" dirty="0"/>
          </a:p>
        </p:txBody>
      </p:sp>
      <p:sp>
        <p:nvSpPr>
          <p:cNvPr id="9" name="textruta 57">
            <a:extLst>
              <a:ext uri="{FF2B5EF4-FFF2-40B4-BE49-F238E27FC236}">
                <a16:creationId xmlns:a16="http://schemas.microsoft.com/office/drawing/2014/main" id="{0C2BA28A-74B5-BEAE-0C05-1AC40A94043D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428411" y="2060847"/>
            <a:ext cx="7355601" cy="1035155"/>
          </a:xfrm>
          <a:prstGeom prst="rect">
            <a:avLst/>
          </a:prstGeom>
          <a:noFill/>
        </p:spPr>
        <p:txBody>
          <a:bodyPr wrap="square" lIns="0" tIns="0" rIns="0" bIns="0" numCol="1" spcCol="180000" rtlCol="0">
            <a:spAutoFit/>
          </a:bodyPr>
          <a:lstStyle/>
          <a:p>
            <a:pPr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defRPr/>
            </a:pPr>
            <a:r>
              <a:rPr lang="de-DE" sz="1600" spc="10" dirty="0">
                <a:latin typeface="+mj-lt"/>
              </a:rPr>
              <a:t>List level for text placeholders / selection of different font styl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To change the font styles on the text pages with placeholders, use the </a:t>
            </a: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</a:b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text pages </a:t>
            </a:r>
            <a:r>
              <a:rPr kumimoji="0" lang="de-DE" sz="1200" b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with placeholders, use the buttons List level </a:t>
            </a:r>
            <a:br>
              <a:rPr kumimoji="0" lang="de-DE" sz="1200" b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</a:br>
            <a:r>
              <a:rPr kumimoji="0" lang="de-DE" sz="1200" b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increase/decrease</a:t>
            </a:r>
            <a:br>
              <a:rPr kumimoji="0" lang="de-DE" sz="1200" b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</a:br>
            <a:r>
              <a:rPr kumimoji="0" lang="de-DE" sz="1200" b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Do not create your own bullet points.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3CC1EE16-A6B1-2896-F30F-CF7AFF58329A}"/>
              </a:ext>
            </a:extLst>
          </p:cNvPr>
          <p:cNvGrpSpPr/>
          <p:nvPr/>
        </p:nvGrpSpPr>
        <p:grpSpPr>
          <a:xfrm>
            <a:off x="9120563" y="2385084"/>
            <a:ext cx="2663449" cy="1383952"/>
            <a:chOff x="6231760" y="4708416"/>
            <a:chExt cx="1312797" cy="704070"/>
          </a:xfrm>
        </p:grpSpPr>
        <p:pic>
          <p:nvPicPr>
            <p:cNvPr id="12" name="Picture 99">
              <a:extLst>
                <a:ext uri="{FF2B5EF4-FFF2-40B4-BE49-F238E27FC236}">
                  <a16:creationId xmlns:a16="http://schemas.microsoft.com/office/drawing/2014/main" id="{9CE3247E-B421-5140-B127-B6A303D5D809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6231760" y="4708416"/>
              <a:ext cx="1312797" cy="704070"/>
            </a:xfrm>
            <a:prstGeom prst="rect">
              <a:avLst/>
            </a:prstGeom>
          </p:spPr>
        </p:pic>
        <p:sp>
          <p:nvSpPr>
            <p:cNvPr id="13" name="Oval 4">
              <a:extLst>
                <a:ext uri="{FF2B5EF4-FFF2-40B4-BE49-F238E27FC236}">
                  <a16:creationId xmlns:a16="http://schemas.microsoft.com/office/drawing/2014/main" id="{8490DA67-98A2-FA02-3860-404D4E50063D}"/>
                </a:ext>
              </a:extLst>
            </p:cNvPr>
            <p:cNvSpPr/>
            <p:nvPr/>
          </p:nvSpPr>
          <p:spPr>
            <a:xfrm>
              <a:off x="6789011" y="4785475"/>
              <a:ext cx="464283" cy="241538"/>
            </a:xfrm>
            <a:prstGeom prst="rect">
              <a:avLst/>
            </a:prstGeom>
            <a:solidFill>
              <a:schemeClr val="tx2">
                <a:alpha val="40000"/>
              </a:schemeClr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100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500" b="0" i="0" u="none" strike="noStrike" kern="1200" cap="none" spc="4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endParaRPr>
            </a:p>
          </p:txBody>
        </p:sp>
        <p:cxnSp>
          <p:nvCxnSpPr>
            <p:cNvPr id="14" name="Straight Connector 102">
              <a:extLst>
                <a:ext uri="{FF2B5EF4-FFF2-40B4-BE49-F238E27FC236}">
                  <a16:creationId xmlns:a16="http://schemas.microsoft.com/office/drawing/2014/main" id="{9C5CA76E-342A-2D43-9B63-1312B8CB97B1}"/>
                </a:ext>
              </a:extLst>
            </p:cNvPr>
            <p:cNvCxnSpPr>
              <a:cxnSpLocks/>
            </p:cNvCxnSpPr>
            <p:nvPr/>
          </p:nvCxnSpPr>
          <p:spPr>
            <a:xfrm>
              <a:off x="6247126" y="4755150"/>
              <a:ext cx="248997" cy="248997"/>
            </a:xfrm>
            <a:prstGeom prst="line">
              <a:avLst/>
            </a:prstGeom>
            <a:ln w="127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textruta 57">
            <a:extLst>
              <a:ext uri="{FF2B5EF4-FFF2-40B4-BE49-F238E27FC236}">
                <a16:creationId xmlns:a16="http://schemas.microsoft.com/office/drawing/2014/main" id="{69516613-5FB1-AF86-B85E-84B9A489620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407990" y="2060847"/>
            <a:ext cx="3724096" cy="664734"/>
          </a:xfrm>
          <a:prstGeom prst="rect">
            <a:avLst/>
          </a:prstGeom>
          <a:noFill/>
        </p:spPr>
        <p:txBody>
          <a:bodyPr wrap="none" lIns="0" tIns="0" rIns="0" bIns="0" numCol="1" spcCol="180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lang="de-DE" sz="1600" spc="10" dirty="0">
                <a:latin typeface="+mj-lt"/>
              </a:rPr>
              <a:t>Preconfigured text placeholders</a:t>
            </a:r>
            <a:br>
              <a:rPr kumimoji="0" lang="de-DE" sz="1600" b="0" i="0" u="none" strike="noStrike" kern="1200" cap="none" spc="10" normalizeH="0" baseline="0" noProof="0" dirty="0">
                <a:ln>
                  <a:noFill/>
                </a:ln>
                <a:solidFill>
                  <a:srgbClr val="DF0B25"/>
                </a:solidFill>
                <a:effectLst/>
                <a:uLnTx/>
                <a:uFillTx/>
              </a:rPr>
            </a:b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The text placeholders are preset with the corporate font </a:t>
            </a:r>
            <a:r>
              <a:rPr kumimoji="0" lang="nl-NL" sz="12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Univers LT Std 47 Cn Lt</a:t>
            </a:r>
            <a:br>
              <a:rPr kumimoji="0" lang="nl-NL" sz="12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</a:b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preset:</a:t>
            </a:r>
          </a:p>
        </p:txBody>
      </p:sp>
      <p:sp>
        <p:nvSpPr>
          <p:cNvPr id="39" name="Inhaltsplatzhalter 4">
            <a:extLst>
              <a:ext uri="{FF2B5EF4-FFF2-40B4-BE49-F238E27FC236}">
                <a16:creationId xmlns:a16="http://schemas.microsoft.com/office/drawing/2014/main" id="{7DDD6031-9047-6ADB-C10E-3150FFCFFDDD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407989" y="2895927"/>
            <a:ext cx="3918616" cy="20390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nivers LT Std 47 Cn Lt"/>
                <a:ea typeface="+mn-ea"/>
                <a:cs typeface="+mn-cs"/>
              </a:rPr>
              <a:t>First levels: 20pt, </a:t>
            </a:r>
            <a:b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nivers LT Std 47 Cn Lt"/>
                <a:ea typeface="+mn-ea"/>
                <a:cs typeface="+mn-cs"/>
              </a:rPr>
            </a:b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nivers LT Std 47 Cn Lt"/>
                <a:ea typeface="+mn-ea"/>
                <a:cs typeface="+mn-cs"/>
              </a:rPr>
              <a:t>(indent bullet)</a:t>
            </a: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nivers LT Std 47 Cn Lt"/>
                <a:ea typeface="+mn-ea"/>
                <a:cs typeface="+mn-cs"/>
              </a:rPr>
              <a:t>Second level: 20pt, </a:t>
            </a:r>
            <a:b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nivers LT Std 47 Cn Lt"/>
                <a:ea typeface="+mn-ea"/>
                <a:cs typeface="+mn-cs"/>
              </a:rPr>
            </a:b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nivers LT Std 47 Cn Lt"/>
                <a:ea typeface="+mn-ea"/>
                <a:cs typeface="+mn-cs"/>
              </a:rPr>
              <a:t>(indent bullet)</a:t>
            </a:r>
          </a:p>
          <a:p>
            <a:pPr marL="360000" lvl="1" indent="-180000">
              <a:buFont typeface="Symbol" panose="05050102010706020507" pitchFamily="18" charset="2"/>
              <a:buChar char="-"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nivers LT Std 47 Cn Lt"/>
                <a:ea typeface="+mn-ea"/>
                <a:cs typeface="+mn-cs"/>
              </a:rPr>
              <a:t>Third level: 20pt, </a:t>
            </a:r>
            <a:b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nivers LT Std 47 Cn Lt"/>
                <a:ea typeface="+mn-ea"/>
                <a:cs typeface="+mn-cs"/>
              </a:rPr>
            </a:b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nivers LT Std 47 Cn Lt"/>
                <a:ea typeface="+mn-ea"/>
                <a:cs typeface="+mn-cs"/>
              </a:rPr>
              <a:t>(indent bullet)</a:t>
            </a:r>
          </a:p>
        </p:txBody>
      </p:sp>
      <p:cxnSp>
        <p:nvCxnSpPr>
          <p:cNvPr id="3" name="Rak 16">
            <a:extLst>
              <a:ext uri="{FF2B5EF4-FFF2-40B4-BE49-F238E27FC236}">
                <a16:creationId xmlns:a16="http://schemas.microsoft.com/office/drawing/2014/main" id="{E74932B3-7C2E-9063-B557-2FE40A581E5C}"/>
              </a:ext>
            </a:extLst>
          </p:cNvPr>
          <p:cNvCxnSpPr>
            <a:cxnSpLocks/>
          </p:cNvCxnSpPr>
          <p:nvPr/>
        </p:nvCxnSpPr>
        <p:spPr>
          <a:xfrm>
            <a:off x="4296000" y="2060847"/>
            <a:ext cx="0" cy="411611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09B6A35-0A81-3100-6E84-3567F3809E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oter via menu Insert-&gt; Header and footer 'Apply to all'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A4ECA010-6054-B8B4-19F0-CCFE2AFBAE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Page 2</a:t>
            </a:r>
            <a:fld id="{63A738E5-7FE5-4F0E-80D4-9B95A408A0CB}" type="slidenum">
              <a:rPr lang="de-DE" smtClean="0"/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17072762"/>
      </p:ext>
    </p:extLst>
  </p:cSld>
  <p:clrMapOvr>
    <a:masterClrMapping/>
  </p:clrMapOvr>
</p:sld>
</file>

<file path=ppt/slides/slide3.xml><?xml version="1.0" encoding="utf-8"?>
<p:sld xmlns:a16="http://schemas.microsoft.com/office/drawing/2014/main" xmlns:p14="http://schemas.microsoft.com/office/powerpoint/2010/main" xmlns:mc="http://schemas.openxmlformats.org/markup-compatibility/2006" xmlns:v="urn:schemas-microsoft-com:vml" xmlns:a14="http://schemas.microsoft.com/office/drawing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1F203216-FE08-748D-EB07-49AF58C07B9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67841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5" imgW="592" imgH="591" progId="TCLayout.ActiveDocument.1">
                  <p:embed/>
                </p:oleObj>
              </mc:Choice>
              <mc:Fallback>
                <p:oleObj name="think-cell Folie" r:id="rId15" imgW="592" imgH="591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1F203216-FE08-748D-EB07-49AF58C07B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98E57FE-13B8-AC88-55C0-A357A9523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Quick guide (3/6)</a:t>
            </a:r>
            <a:endParaRPr lang="en-US" dirty="0"/>
          </a:p>
        </p:txBody>
      </p:sp>
      <p:sp>
        <p:nvSpPr>
          <p:cNvPr id="18" name="textruta 37">
            <a:extLst>
              <a:ext uri="{FF2B5EF4-FFF2-40B4-BE49-F238E27FC236}">
                <a16:creationId xmlns:a16="http://schemas.microsoft.com/office/drawing/2014/main" id="{4305B28F-1F2F-C444-A460-A3028660001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895782" y="2060847"/>
            <a:ext cx="1943175" cy="256480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defRPr sz="1200" b="1" spc="10">
                <a:solidFill>
                  <a:schemeClr val="accent2"/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lang="de-DE" sz="1600" b="0" dirty="0">
                <a:solidFill>
                  <a:schemeClr val="tx1"/>
                </a:solidFill>
              </a:rPr>
              <a:t>Writings</a:t>
            </a:r>
          </a:p>
        </p:txBody>
      </p:sp>
      <p:sp>
        <p:nvSpPr>
          <p:cNvPr id="19" name="textruta 28">
            <a:extLst>
              <a:ext uri="{FF2B5EF4-FFF2-40B4-BE49-F238E27FC236}">
                <a16:creationId xmlns:a16="http://schemas.microsoft.com/office/drawing/2014/main" id="{8EDBB738-EA68-30F4-15A7-52520468BCA5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4895780" y="2335599"/>
            <a:ext cx="3482182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In PowerPoint presentations, the font used is </a:t>
            </a: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</a:b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Univers LT Std 47 Cn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</a:rPr>
              <a:t>Lt 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(body text) and </a:t>
            </a: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</a:rPr>
              <a:t>Univers Next Pro Medium </a:t>
            </a:r>
            <a:r>
              <a:rPr kumimoji="0" lang="de-DE" sz="12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+mj-lt"/>
              </a:rPr>
              <a:t>Cond </a:t>
            </a: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</a:rPr>
              <a:t>(headings) 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for </a:t>
            </a: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</a:rPr>
              <a:t>highlighting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. 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Please do not </a:t>
            </a: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use BOLD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!</a:t>
            </a:r>
          </a:p>
        </p:txBody>
      </p:sp>
      <p:cxnSp>
        <p:nvCxnSpPr>
          <p:cNvPr id="21" name="Rak 16">
            <a:extLst>
              <a:ext uri="{FF2B5EF4-FFF2-40B4-BE49-F238E27FC236}">
                <a16:creationId xmlns:a16="http://schemas.microsoft.com/office/drawing/2014/main" id="{AFA18A06-CB5C-37A9-4EBF-33BBED95600C}"/>
              </a:ext>
            </a:extLst>
          </p:cNvPr>
          <p:cNvCxnSpPr>
            <a:cxnSpLocks/>
          </p:cNvCxnSpPr>
          <p:nvPr/>
        </p:nvCxnSpPr>
        <p:spPr>
          <a:xfrm>
            <a:off x="8616000" y="2060847"/>
            <a:ext cx="0" cy="411611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fik 6">
            <a:extLst>
              <a:ext uri="{FF2B5EF4-FFF2-40B4-BE49-F238E27FC236}">
                <a16:creationId xmlns:a16="http://schemas.microsoft.com/office/drawing/2014/main" id="{B5274357-53A8-3804-0F68-17D52EC763A3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895781" y="3208290"/>
            <a:ext cx="3432468" cy="1459655"/>
          </a:xfrm>
          <a:prstGeom prst="rect">
            <a:avLst/>
          </a:prstGeom>
        </p:spPr>
      </p:pic>
      <p:sp>
        <p:nvSpPr>
          <p:cNvPr id="3" name="TextBox 9">
            <a:extLst>
              <a:ext uri="{FF2B5EF4-FFF2-40B4-BE49-F238E27FC236}">
                <a16:creationId xmlns:a16="http://schemas.microsoft.com/office/drawing/2014/main" id="{D14CD4B7-784B-ADF7-744E-22395077B2E4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838067" y="6057552"/>
            <a:ext cx="218395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4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Line .75 </a:t>
            </a:r>
            <a:r>
              <a:rPr kumimoji="0" lang="de-DE" sz="1400" b="0" i="0" u="none" strike="noStrike" kern="1200" cap="none" spc="40" normalizeH="0" baseline="0" noProof="0" dirty="0" err="1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pt</a:t>
            </a:r>
            <a:r>
              <a:rPr kumimoji="0" lang="de-DE" sz="1400" b="0" i="0" u="none" strike="noStrike" kern="1200" cap="none" spc="4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, black</a:t>
            </a:r>
          </a:p>
        </p:txBody>
      </p: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60647238-6F4D-820C-CB82-77BFBC625565}"/>
              </a:ext>
            </a:extLst>
          </p:cNvPr>
          <p:cNvCxnSpPr/>
          <p:nvPr/>
        </p:nvCxnSpPr>
        <p:spPr>
          <a:xfrm>
            <a:off x="8819502" y="5937880"/>
            <a:ext cx="2312543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ruta 57">
            <a:extLst>
              <a:ext uri="{FF2B5EF4-FFF2-40B4-BE49-F238E27FC236}">
                <a16:creationId xmlns:a16="http://schemas.microsoft.com/office/drawing/2014/main" id="{08C02B55-27C1-BEFE-9D01-E041D96DB82D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816482" y="2742665"/>
            <a:ext cx="1022909" cy="187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1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Standard form</a:t>
            </a:r>
          </a:p>
        </p:txBody>
      </p:sp>
      <p:sp>
        <p:nvSpPr>
          <p:cNvPr id="16" name="textruta 57">
            <a:extLst>
              <a:ext uri="{FF2B5EF4-FFF2-40B4-BE49-F238E27FC236}">
                <a16:creationId xmlns:a16="http://schemas.microsoft.com/office/drawing/2014/main" id="{F11E0CCF-B429-7437-1EA9-9D3A55629D75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816482" y="5700225"/>
            <a:ext cx="974049" cy="187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1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Standard line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FF68192D-98E4-0A3D-DD7C-B918B7A05915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8816482" y="3064106"/>
            <a:ext cx="2036716" cy="104797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dirty="0"/>
              <a:t>Font size 20 </a:t>
            </a:r>
            <a:r>
              <a:rPr lang="de-DE" sz="2000" dirty="0" err="1"/>
              <a:t>pt</a:t>
            </a:r>
            <a:endParaRPr lang="de-DE" sz="2000" dirty="0"/>
          </a:p>
          <a:p>
            <a:pPr algn="ctr"/>
            <a:r>
              <a:rPr lang="de-DE" sz="2000" dirty="0"/>
              <a:t>Color blue</a:t>
            </a:r>
            <a:br>
              <a:rPr lang="de-DE" sz="2000" dirty="0"/>
            </a:br>
            <a:r>
              <a:rPr lang="de-DE" sz="2000" dirty="0"/>
              <a:t>Without line</a:t>
            </a:r>
          </a:p>
        </p:txBody>
      </p:sp>
      <p:sp>
        <p:nvSpPr>
          <p:cNvPr id="36" name="textruta 57">
            <a:extLst>
              <a:ext uri="{FF2B5EF4-FFF2-40B4-BE49-F238E27FC236}">
                <a16:creationId xmlns:a16="http://schemas.microsoft.com/office/drawing/2014/main" id="{6F3C0FC2-364F-9AEF-D203-EE0CD9A4FA3D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8816482" y="4468078"/>
            <a:ext cx="1238609" cy="187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1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Standard text field</a:t>
            </a:r>
          </a:p>
        </p:txBody>
      </p:sp>
      <p:sp>
        <p:nvSpPr>
          <p:cNvPr id="39" name="textruta 95">
            <a:extLst>
              <a:ext uri="{FF2B5EF4-FFF2-40B4-BE49-F238E27FC236}">
                <a16:creationId xmlns:a16="http://schemas.microsoft.com/office/drawing/2014/main" id="{C7F76629-1C5B-1576-E858-279F4E913A62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8797433" y="2060847"/>
            <a:ext cx="3058019" cy="95205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defRPr sz="1200" b="1" spc="10">
                <a:solidFill>
                  <a:schemeClr val="accent2"/>
                </a:solidFill>
                <a:latin typeface="+mj-lt"/>
              </a:defRPr>
            </a:lvl1pPr>
          </a:lstStyle>
          <a:p>
            <a:pPr>
              <a:defRPr/>
            </a:pPr>
            <a:r>
              <a:rPr lang="de-DE" sz="1600" b="0" dirty="0">
                <a:solidFill>
                  <a:schemeClr val="tx1"/>
                </a:solidFill>
              </a:rPr>
              <a:t>Examples of standard</a:t>
            </a:r>
            <a:br>
              <a:rPr lang="de-DE" sz="1600" b="0" dirty="0">
                <a:solidFill>
                  <a:schemeClr val="tx1"/>
                </a:solidFill>
              </a:rPr>
            </a:br>
            <a:r>
              <a:rPr lang="de-DE" sz="1600" b="0" dirty="0">
                <a:solidFill>
                  <a:schemeClr val="tx1"/>
                </a:solidFill>
              </a:rPr>
              <a:t>shapes, lines and text fields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1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pic>
        <p:nvPicPr>
          <p:cNvPr id="44" name="Grafik 43">
            <a:extLst>
              <a:ext uri="{FF2B5EF4-FFF2-40B4-BE49-F238E27FC236}">
                <a16:creationId xmlns:a16="http://schemas.microsoft.com/office/drawing/2014/main" id="{28858D32-532A-DD1F-E190-C9C2A407A2D7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691036" y="2060847"/>
            <a:ext cx="1820965" cy="2873546"/>
          </a:xfrm>
          <a:prstGeom prst="rect">
            <a:avLst/>
          </a:prstGeom>
        </p:spPr>
      </p:pic>
      <p:cxnSp>
        <p:nvCxnSpPr>
          <p:cNvPr id="45" name="Rak 16">
            <a:extLst>
              <a:ext uri="{FF2B5EF4-FFF2-40B4-BE49-F238E27FC236}">
                <a16:creationId xmlns:a16="http://schemas.microsoft.com/office/drawing/2014/main" id="{36D4C2CA-A12C-06B0-38A8-F9E03F253681}"/>
              </a:ext>
            </a:extLst>
          </p:cNvPr>
          <p:cNvCxnSpPr>
            <a:cxnSpLocks/>
          </p:cNvCxnSpPr>
          <p:nvPr/>
        </p:nvCxnSpPr>
        <p:spPr>
          <a:xfrm>
            <a:off x="4693433" y="2060847"/>
            <a:ext cx="0" cy="411611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ruta 22">
            <a:extLst>
              <a:ext uri="{FF2B5EF4-FFF2-40B4-BE49-F238E27FC236}">
                <a16:creationId xmlns:a16="http://schemas.microsoft.com/office/drawing/2014/main" id="{7E4E58B8-C109-3FB2-F844-ED933ED0D44E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407988" y="2353061"/>
            <a:ext cx="1820961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To color objects, please use the </a:t>
            </a:r>
            <a:r>
              <a:rPr kumimoji="0" lang="de-DE" sz="1200" b="0" i="0" u="none" strike="noStrike" kern="1200" cap="none" spc="-30" normalizeH="0" baseline="0" noProof="0" dirty="0">
                <a:ln>
                  <a:noFill/>
                </a:ln>
                <a:effectLst/>
                <a:uLnTx/>
                <a:uFillTx/>
              </a:rPr>
              <a:t>defined </a:t>
            </a:r>
            <a:r>
              <a:rPr lang="de-DE" sz="1200" dirty="0"/>
              <a:t>design colors in the first line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The use of standard colors is not desired.</a:t>
            </a:r>
          </a:p>
        </p:txBody>
      </p:sp>
      <p:sp>
        <p:nvSpPr>
          <p:cNvPr id="47" name="textruta 95">
            <a:extLst>
              <a:ext uri="{FF2B5EF4-FFF2-40B4-BE49-F238E27FC236}">
                <a16:creationId xmlns:a16="http://schemas.microsoft.com/office/drawing/2014/main" id="{56311F99-4AA2-DFA6-6AB2-CEAD3A0A8B7D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407989" y="2060847"/>
            <a:ext cx="927429" cy="256480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defRPr sz="1200" b="1" spc="10">
                <a:solidFill>
                  <a:schemeClr val="accent2"/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lang="de-DE" sz="1600" b="0" dirty="0">
                <a:solidFill>
                  <a:schemeClr val="tx1"/>
                </a:solidFill>
              </a:rPr>
              <a:t>Colors</a:t>
            </a:r>
          </a:p>
        </p:txBody>
      </p:sp>
      <p:sp>
        <p:nvSpPr>
          <p:cNvPr id="48" name="Oval 4">
            <a:extLst>
              <a:ext uri="{FF2B5EF4-FFF2-40B4-BE49-F238E27FC236}">
                <a16:creationId xmlns:a16="http://schemas.microsoft.com/office/drawing/2014/main" id="{AB72C22F-619D-4B98-5FF2-BA97C9657C27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2717630" y="2304462"/>
            <a:ext cx="1820962" cy="533465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grpSp>
        <p:nvGrpSpPr>
          <p:cNvPr id="49" name="Grupp 14">
            <a:extLst>
              <a:ext uri="{FF2B5EF4-FFF2-40B4-BE49-F238E27FC236}">
                <a16:creationId xmlns:a16="http://schemas.microsoft.com/office/drawing/2014/main" id="{22BADCE5-52C6-B0A9-0601-0D7C5BE373C7}"/>
              </a:ext>
            </a:extLst>
          </p:cNvPr>
          <p:cNvGrpSpPr/>
          <p:nvPr/>
        </p:nvGrpSpPr>
        <p:grpSpPr>
          <a:xfrm>
            <a:off x="2733280" y="2895309"/>
            <a:ext cx="1776419" cy="825179"/>
            <a:chOff x="4877584" y="5560187"/>
            <a:chExt cx="2635512" cy="2178041"/>
          </a:xfrm>
        </p:grpSpPr>
        <p:sp>
          <p:nvSpPr>
            <p:cNvPr id="50" name="TextBox 43">
              <a:extLst>
                <a:ext uri="{FF2B5EF4-FFF2-40B4-BE49-F238E27FC236}">
                  <a16:creationId xmlns:a16="http://schemas.microsoft.com/office/drawing/2014/main" id="{6CBBC1A1-506B-41EE-068E-BD3F6FDB87DB}"/>
                </a:ext>
              </a:extLst>
            </p:cNvPr>
            <p:cNvSpPr txBox="1"/>
            <p:nvPr/>
          </p:nvSpPr>
          <p:spPr>
            <a:xfrm>
              <a:off x="4877584" y="5560187"/>
              <a:ext cx="2635512" cy="2178041"/>
            </a:xfrm>
            <a:prstGeom prst="rect">
              <a:avLst/>
            </a:prstGeom>
            <a:solidFill>
              <a:schemeClr val="bg1">
                <a:alpha val="69804"/>
              </a:schemeClr>
            </a:solidFill>
            <a:ln w="6350">
              <a:solidFill>
                <a:schemeClr val="bg1">
                  <a:lumMod val="85000"/>
                </a:schemeClr>
              </a:solidFill>
            </a:ln>
          </p:spPr>
          <p:txBody>
            <a:bodyPr wrap="square" lIns="0" tIns="0" rIns="0" bIns="0" rtlCol="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DF0B25"/>
                  </a:solidFill>
                  <a:effectLst/>
                  <a:uLnTx/>
                  <a:uFillTx/>
                </a:rPr>
                <a:t>These colors may not be used</a:t>
              </a:r>
            </a:p>
          </p:txBody>
        </p:sp>
        <p:sp>
          <p:nvSpPr>
            <p:cNvPr id="51" name="&quot;Not Allowed&quot; Symbol 44">
              <a:extLst>
                <a:ext uri="{FF2B5EF4-FFF2-40B4-BE49-F238E27FC236}">
                  <a16:creationId xmlns:a16="http://schemas.microsoft.com/office/drawing/2014/main" id="{1530553D-8D6C-502B-9BFE-18688AC4602F}"/>
                </a:ext>
              </a:extLst>
            </p:cNvPr>
            <p:cNvSpPr/>
            <p:nvPr/>
          </p:nvSpPr>
          <p:spPr>
            <a:xfrm>
              <a:off x="5967880" y="5897085"/>
              <a:ext cx="320460" cy="570127"/>
            </a:xfrm>
            <a:prstGeom prst="noSmoking">
              <a:avLst/>
            </a:prstGeom>
            <a:solidFill>
              <a:schemeClr val="accent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135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53" name="Grupp 14">
            <a:extLst>
              <a:ext uri="{FF2B5EF4-FFF2-40B4-BE49-F238E27FC236}">
                <a16:creationId xmlns:a16="http://schemas.microsoft.com/office/drawing/2014/main" id="{63D5142E-A7BA-1393-EFDC-F161B70EDFF6}"/>
              </a:ext>
            </a:extLst>
          </p:cNvPr>
          <p:cNvGrpSpPr/>
          <p:nvPr/>
        </p:nvGrpSpPr>
        <p:grpSpPr>
          <a:xfrm>
            <a:off x="2733280" y="3643342"/>
            <a:ext cx="1776419" cy="556268"/>
            <a:chOff x="4877584" y="5827521"/>
            <a:chExt cx="2635512" cy="1468257"/>
          </a:xfrm>
        </p:grpSpPr>
        <p:sp>
          <p:nvSpPr>
            <p:cNvPr id="54" name="TextBox 43">
              <a:extLst>
                <a:ext uri="{FF2B5EF4-FFF2-40B4-BE49-F238E27FC236}">
                  <a16:creationId xmlns:a16="http://schemas.microsoft.com/office/drawing/2014/main" id="{B3AC630B-5840-739F-6618-D39798622DD4}"/>
                </a:ext>
              </a:extLst>
            </p:cNvPr>
            <p:cNvSpPr txBox="1"/>
            <p:nvPr/>
          </p:nvSpPr>
          <p:spPr>
            <a:xfrm>
              <a:off x="4877584" y="5827521"/>
              <a:ext cx="2635512" cy="1468257"/>
            </a:xfrm>
            <a:prstGeom prst="rect">
              <a:avLst/>
            </a:prstGeom>
            <a:solidFill>
              <a:schemeClr val="bg1">
                <a:alpha val="69804"/>
              </a:schemeClr>
            </a:solidFill>
            <a:ln w="6350">
              <a:solidFill>
                <a:schemeClr val="bg1">
                  <a:lumMod val="85000"/>
                </a:schemeClr>
              </a:solidFill>
            </a:ln>
          </p:spPr>
          <p:txBody>
            <a:bodyPr wrap="square" lIns="0" tIns="0" rIns="0" bIns="0" rtlCol="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DF0B25"/>
                  </a:solidFill>
                  <a:effectLst/>
                  <a:uLnTx/>
                  <a:uFillTx/>
                </a:rPr>
                <a:t>These colors may not be used</a:t>
              </a:r>
            </a:p>
          </p:txBody>
        </p:sp>
        <p:sp>
          <p:nvSpPr>
            <p:cNvPr id="55" name="&quot;Not Allowed&quot; Symbol 44">
              <a:extLst>
                <a:ext uri="{FF2B5EF4-FFF2-40B4-BE49-F238E27FC236}">
                  <a16:creationId xmlns:a16="http://schemas.microsoft.com/office/drawing/2014/main" id="{81CF9A46-E6D7-CA4C-F39A-E9BCA4B99E3A}"/>
                </a:ext>
              </a:extLst>
            </p:cNvPr>
            <p:cNvSpPr/>
            <p:nvPr/>
          </p:nvSpPr>
          <p:spPr>
            <a:xfrm>
              <a:off x="5967880" y="5897085"/>
              <a:ext cx="320460" cy="570127"/>
            </a:xfrm>
            <a:prstGeom prst="noSmoking">
              <a:avLst/>
            </a:prstGeom>
            <a:solidFill>
              <a:schemeClr val="accent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135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15" name="Grafik 14">
            <a:extLst>
              <a:ext uri="{FF2B5EF4-FFF2-40B4-BE49-F238E27FC236}">
                <a16:creationId xmlns:a16="http://schemas.microsoft.com/office/drawing/2014/main" id="{4BC3BF38-060F-0786-00ED-FA7FCD228392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661610" y="4637278"/>
            <a:ext cx="2360415" cy="988822"/>
          </a:xfrm>
          <a:prstGeom prst="rect">
            <a:avLst/>
          </a:prstGeo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39E20D2-77DB-F00D-803B-677B2BF7EB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oter via menu Insert-&gt; Header and footer 'Apply to all'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510E46E3-4E7C-987D-7E09-036A30FE45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Page 3</a:t>
            </a:r>
            <a:fld id="{63A738E5-7FE5-4F0E-80D4-9B95A408A0CB}" type="slidenum">
              <a:rPr lang="de-DE" smtClean="0"/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38161340"/>
      </p:ext>
    </p:extLst>
  </p:cSld>
  <p:clrMapOvr>
    <a:masterClrMapping/>
  </p:clrMapOvr>
</p:sld>
</file>

<file path=ppt/slides/slide4.xml><?xml version="1.0" encoding="utf-8"?>
<p:sld xmlns:a16="http://schemas.microsoft.com/office/drawing/2014/main" xmlns:p14="http://schemas.microsoft.com/office/powerpoint/2010/main" xmlns:mc="http://schemas.openxmlformats.org/markup-compatibility/2006" xmlns:v="urn:schemas-microsoft-com:vml" xmlns:a14="http://schemas.microsoft.com/office/drawing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9A543A9-2818-B8BF-5B65-344F2A6E5A5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04615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592" imgH="591" progId="TCLayout.ActiveDocument.1">
                  <p:embed/>
                </p:oleObj>
              </mc:Choice>
              <mc:Fallback>
                <p:oleObj name="think-cell Folie" r:id="rId14" imgW="592" imgH="591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9A543A9-2818-B8BF-5B65-344F2A6E5A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8862D62-4293-2A0A-2E65-17221DAD3F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Quick guide (4/6)</a:t>
            </a:r>
            <a:endParaRPr lang="en-US" dirty="0"/>
          </a:p>
        </p:txBody>
      </p:sp>
      <p:cxnSp>
        <p:nvCxnSpPr>
          <p:cNvPr id="55" name="Rak 16">
            <a:extLst>
              <a:ext uri="{FF2B5EF4-FFF2-40B4-BE49-F238E27FC236}">
                <a16:creationId xmlns:a16="http://schemas.microsoft.com/office/drawing/2014/main" id="{B1516273-07E6-2CB2-B7B2-6A8F7E20BD75}"/>
              </a:ext>
            </a:extLst>
          </p:cNvPr>
          <p:cNvCxnSpPr>
            <a:cxnSpLocks/>
          </p:cNvCxnSpPr>
          <p:nvPr/>
        </p:nvCxnSpPr>
        <p:spPr>
          <a:xfrm>
            <a:off x="8134996" y="2060847"/>
            <a:ext cx="0" cy="388937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Grafik 8">
            <a:extLst>
              <a:ext uri="{FF2B5EF4-FFF2-40B4-BE49-F238E27FC236}">
                <a16:creationId xmlns:a16="http://schemas.microsoft.com/office/drawing/2014/main" id="{7E1CD00C-4F4E-B88A-24F6-C6F0D3117202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8422618" y="2990269"/>
            <a:ext cx="3357563" cy="1888629"/>
          </a:xfrm>
          <a:prstGeom prst="rect">
            <a:avLst/>
          </a:prstGeom>
        </p:spPr>
      </p:pic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92DC50D4-7BDD-37D2-C8F4-F54797E3C237}"/>
              </a:ext>
            </a:extLst>
          </p:cNvPr>
          <p:cNvGrpSpPr/>
          <p:nvPr/>
        </p:nvGrpSpPr>
        <p:grpSpPr>
          <a:xfrm>
            <a:off x="10489648" y="4853637"/>
            <a:ext cx="1294365" cy="958210"/>
            <a:chOff x="9936795" y="1985059"/>
            <a:chExt cx="920868" cy="703628"/>
          </a:xfrm>
        </p:grpSpPr>
        <p:pic>
          <p:nvPicPr>
            <p:cNvPr id="31" name="Bildobjekt 11">
              <a:extLst>
                <a:ext uri="{FF2B5EF4-FFF2-40B4-BE49-F238E27FC236}">
                  <a16:creationId xmlns:a16="http://schemas.microsoft.com/office/drawing/2014/main" id="{33B81F7A-341A-521C-14E1-C57E5958A15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7"/>
            <a:srcRect l="2421" t="2421" r="2421" b="2421"/>
            <a:stretch/>
          </p:blipFill>
          <p:spPr>
            <a:xfrm>
              <a:off x="10033613" y="2028317"/>
              <a:ext cx="824050" cy="660370"/>
            </a:xfrm>
            <a:prstGeom prst="rect">
              <a:avLst/>
            </a:prstGeom>
            <a:ln>
              <a:solidFill>
                <a:schemeClr val="tx2"/>
              </a:solidFill>
            </a:ln>
          </p:spPr>
        </p:pic>
        <p:sp>
          <p:nvSpPr>
            <p:cNvPr id="32" name="Oval 4">
              <a:extLst>
                <a:ext uri="{FF2B5EF4-FFF2-40B4-BE49-F238E27FC236}">
                  <a16:creationId xmlns:a16="http://schemas.microsoft.com/office/drawing/2014/main" id="{8EAE6930-239D-3F24-55F9-C2F84032E3A6}"/>
                </a:ext>
              </a:extLst>
            </p:cNvPr>
            <p:cNvSpPr/>
            <p:nvPr/>
          </p:nvSpPr>
          <p:spPr>
            <a:xfrm>
              <a:off x="9936795" y="1985059"/>
              <a:ext cx="699171" cy="699171"/>
            </a:xfrm>
            <a:prstGeom prst="ellipse">
              <a:avLst/>
            </a:prstGeom>
            <a:solidFill>
              <a:schemeClr val="tx2">
                <a:alpha val="40000"/>
              </a:schemeClr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33" name="textruta 28">
            <a:extLst>
              <a:ext uri="{FF2B5EF4-FFF2-40B4-BE49-F238E27FC236}">
                <a16:creationId xmlns:a16="http://schemas.microsoft.com/office/drawing/2014/main" id="{41694CD9-8F9B-584B-6DB7-8534D924B8B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8426447" y="2335599"/>
            <a:ext cx="3357566" cy="3954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1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In the View menu, place a checkmark next to </a:t>
            </a:r>
            <a:r>
              <a:rPr lang="de-DE" sz="1200" dirty="0">
                <a:solidFill>
                  <a:srgbClr val="333333"/>
                </a:solidFill>
              </a:rPr>
              <a:t>Ruler and guide lines</a:t>
            </a:r>
            <a:r>
              <a:rPr kumimoji="0" lang="de-DE" sz="1200" b="0" i="0" u="none" strike="noStrike" kern="1200" cap="none" spc="1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.</a:t>
            </a:r>
            <a:endParaRPr kumimoji="0" lang="de-DE" sz="1600" b="1" i="0" u="none" strike="noStrike" kern="1200" cap="none" spc="10" normalizeH="0" baseline="0" noProof="0" dirty="0">
              <a:ln>
                <a:noFill/>
              </a:ln>
              <a:solidFill>
                <a:srgbClr val="DF0B25"/>
              </a:solidFill>
              <a:effectLst/>
              <a:uLnTx/>
              <a:uFillTx/>
            </a:endParaRPr>
          </a:p>
        </p:txBody>
      </p:sp>
      <p:sp>
        <p:nvSpPr>
          <p:cNvPr id="34" name="textruta 37">
            <a:extLst>
              <a:ext uri="{FF2B5EF4-FFF2-40B4-BE49-F238E27FC236}">
                <a16:creationId xmlns:a16="http://schemas.microsoft.com/office/drawing/2014/main" id="{81DBB0B7-7974-05B1-3798-063E13157156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8426447" y="2060848"/>
            <a:ext cx="3357566" cy="2564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defRPr/>
            </a:pPr>
            <a:r>
              <a:rPr lang="de-DE" sz="1600" spc="10" dirty="0">
                <a:latin typeface="+mj-lt"/>
              </a:rPr>
              <a:t>Ruler and guide lines</a:t>
            </a:r>
          </a:p>
        </p:txBody>
      </p:sp>
      <p:sp>
        <p:nvSpPr>
          <p:cNvPr id="21" name="textruta 37">
            <a:extLst>
              <a:ext uri="{FF2B5EF4-FFF2-40B4-BE49-F238E27FC236}">
                <a16:creationId xmlns:a16="http://schemas.microsoft.com/office/drawing/2014/main" id="{C09AA388-CAD1-D377-97BD-B031FDAC03E2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407989" y="2060847"/>
            <a:ext cx="4604591" cy="2564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defRPr/>
            </a:pPr>
            <a:r>
              <a:rPr lang="de-DE" sz="1600" spc="10" dirty="0">
                <a:latin typeface="+mj-lt"/>
              </a:rPr>
              <a:t>Header and footer / page numbers</a:t>
            </a:r>
          </a:p>
        </p:txBody>
      </p:sp>
      <p:sp>
        <p:nvSpPr>
          <p:cNvPr id="22" name="textruta 28">
            <a:extLst>
              <a:ext uri="{FF2B5EF4-FFF2-40B4-BE49-F238E27FC236}">
                <a16:creationId xmlns:a16="http://schemas.microsoft.com/office/drawing/2014/main" id="{707ECAB0-6801-DEA2-7AB9-CC4BF4FE0DAD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407989" y="2335599"/>
            <a:ext cx="4604591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92075" marR="0" lvl="0" indent="-920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Menu Insert/Header and Footer.</a:t>
            </a:r>
          </a:p>
          <a:p>
            <a:pPr marL="92075" marR="0" lvl="0" indent="-920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Enter footer</a:t>
            </a:r>
          </a:p>
          <a:p>
            <a:pPr marL="1714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Check mark for slide number</a:t>
            </a:r>
          </a:p>
          <a:p>
            <a:pPr marL="1714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Tick "Do not display on title slide"</a:t>
            </a:r>
          </a:p>
          <a:p>
            <a:pPr marL="92075" marR="0" lvl="0" indent="-920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Click for all.</a:t>
            </a:r>
          </a:p>
        </p:txBody>
      </p: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4403E313-E42D-B7B3-E092-3829194554CB}"/>
              </a:ext>
            </a:extLst>
          </p:cNvPr>
          <p:cNvGrpSpPr/>
          <p:nvPr/>
        </p:nvGrpSpPr>
        <p:grpSpPr>
          <a:xfrm>
            <a:off x="3558972" y="2060848"/>
            <a:ext cx="4311289" cy="3498770"/>
            <a:chOff x="5780171" y="1378302"/>
            <a:chExt cx="5464093" cy="4434315"/>
          </a:xfrm>
        </p:grpSpPr>
        <p:pic>
          <p:nvPicPr>
            <p:cNvPr id="26" name="Grafik 25">
              <a:extLst>
                <a:ext uri="{FF2B5EF4-FFF2-40B4-BE49-F238E27FC236}">
                  <a16:creationId xmlns:a16="http://schemas.microsoft.com/office/drawing/2014/main" id="{A2D8EA7E-89C2-C74B-F019-58745AD5CAB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6026520" y="1378302"/>
              <a:ext cx="5217744" cy="4434315"/>
            </a:xfrm>
            <a:prstGeom prst="rect">
              <a:avLst/>
            </a:prstGeom>
            <a:ln>
              <a:solidFill>
                <a:schemeClr val="tx2"/>
              </a:solidFill>
            </a:ln>
          </p:spPr>
        </p:pic>
        <p:sp>
          <p:nvSpPr>
            <p:cNvPr id="27" name="Rektangel 55">
              <a:extLst>
                <a:ext uri="{FF2B5EF4-FFF2-40B4-BE49-F238E27FC236}">
                  <a16:creationId xmlns:a16="http://schemas.microsoft.com/office/drawing/2014/main" id="{C7FBF862-2443-43A6-1098-A8A8487B181D}"/>
                </a:ext>
              </a:extLst>
            </p:cNvPr>
            <p:cNvSpPr/>
            <p:nvPr/>
          </p:nvSpPr>
          <p:spPr>
            <a:xfrm>
              <a:off x="8694044" y="1577820"/>
              <a:ext cx="567013" cy="771060"/>
            </a:xfrm>
            <a:prstGeom prst="rect">
              <a:avLst/>
            </a:prstGeom>
            <a:solidFill>
              <a:schemeClr val="tx2">
                <a:alpha val="40000"/>
              </a:schemeClr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100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500" b="0" i="0" u="none" strike="noStrike" kern="1200" cap="none" spc="4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endParaRPr>
            </a:p>
          </p:txBody>
        </p:sp>
        <p:sp>
          <p:nvSpPr>
            <p:cNvPr id="28" name="Rektangel 55">
              <a:extLst>
                <a:ext uri="{FF2B5EF4-FFF2-40B4-BE49-F238E27FC236}">
                  <a16:creationId xmlns:a16="http://schemas.microsoft.com/office/drawing/2014/main" id="{F3EF91F7-EB5D-FB7A-296D-1F0273252C05}"/>
                </a:ext>
              </a:extLst>
            </p:cNvPr>
            <p:cNvSpPr/>
            <p:nvPr/>
          </p:nvSpPr>
          <p:spPr>
            <a:xfrm>
              <a:off x="6031846" y="4343990"/>
              <a:ext cx="4084721" cy="890187"/>
            </a:xfrm>
            <a:prstGeom prst="rect">
              <a:avLst/>
            </a:prstGeom>
            <a:solidFill>
              <a:schemeClr val="tx2">
                <a:alpha val="40000"/>
              </a:schemeClr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100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500" b="0" i="0" u="none" strike="noStrike" kern="1200" cap="none" spc="4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endParaRPr>
            </a:p>
          </p:txBody>
        </p:sp>
        <p:sp>
          <p:nvSpPr>
            <p:cNvPr id="29" name="Rektangel 55">
              <a:extLst>
                <a:ext uri="{FF2B5EF4-FFF2-40B4-BE49-F238E27FC236}">
                  <a16:creationId xmlns:a16="http://schemas.microsoft.com/office/drawing/2014/main" id="{E19360F2-C6F4-93DF-1CDB-3DEBC39A1100}"/>
                </a:ext>
              </a:extLst>
            </p:cNvPr>
            <p:cNvSpPr/>
            <p:nvPr/>
          </p:nvSpPr>
          <p:spPr>
            <a:xfrm>
              <a:off x="8934056" y="5397066"/>
              <a:ext cx="1086456" cy="415551"/>
            </a:xfrm>
            <a:prstGeom prst="rect">
              <a:avLst/>
            </a:prstGeom>
            <a:solidFill>
              <a:schemeClr val="tx2">
                <a:alpha val="40000"/>
              </a:schemeClr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100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500" b="0" i="0" u="none" strike="noStrike" kern="1200" cap="none" spc="4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endParaRPr>
            </a:p>
          </p:txBody>
        </p:sp>
        <p:sp>
          <p:nvSpPr>
            <p:cNvPr id="35" name="Ellipse 34">
              <a:extLst>
                <a:ext uri="{FF2B5EF4-FFF2-40B4-BE49-F238E27FC236}">
                  <a16:creationId xmlns:a16="http://schemas.microsoft.com/office/drawing/2014/main" id="{51B29BA3-7972-D177-82A9-8BF7FC87AE80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>
              <a:off x="8513642" y="1402260"/>
              <a:ext cx="352128" cy="35212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5000"/>
                </a:lnSpc>
                <a:spcBef>
                  <a:spcPts val="450"/>
                </a:spcBef>
                <a:spcAft>
                  <a:spcPts val="0"/>
                </a:spcAft>
                <a:buClr>
                  <a:srgbClr val="DF0B25"/>
                </a:buClr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1</a:t>
              </a:r>
            </a:p>
          </p:txBody>
        </p:sp>
        <p:sp>
          <p:nvSpPr>
            <p:cNvPr id="38" name="Ellipse 37">
              <a:extLst>
                <a:ext uri="{FF2B5EF4-FFF2-40B4-BE49-F238E27FC236}">
                  <a16:creationId xmlns:a16="http://schemas.microsoft.com/office/drawing/2014/main" id="{3A82FB80-9A34-76CD-9302-FCBD2727B962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>
            <a:xfrm>
              <a:off x="5780171" y="4619392"/>
              <a:ext cx="352128" cy="35212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5000"/>
                </a:lnSpc>
                <a:spcBef>
                  <a:spcPts val="450"/>
                </a:spcBef>
                <a:spcAft>
                  <a:spcPts val="0"/>
                </a:spcAft>
                <a:buClr>
                  <a:srgbClr val="DF0B25"/>
                </a:buClr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2</a:t>
              </a:r>
            </a:p>
          </p:txBody>
        </p:sp>
        <p:sp>
          <p:nvSpPr>
            <p:cNvPr id="39" name="Ellipse 38">
              <a:extLst>
                <a:ext uri="{FF2B5EF4-FFF2-40B4-BE49-F238E27FC236}">
                  <a16:creationId xmlns:a16="http://schemas.microsoft.com/office/drawing/2014/main" id="{DEEBBFD4-E310-0511-41FF-B5F5F1CD3EB9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>
            <a:xfrm>
              <a:off x="8632839" y="5415638"/>
              <a:ext cx="352128" cy="35212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5000"/>
                </a:lnSpc>
                <a:spcBef>
                  <a:spcPts val="450"/>
                </a:spcBef>
                <a:spcAft>
                  <a:spcPts val="0"/>
                </a:spcAft>
                <a:buClr>
                  <a:srgbClr val="DF0B25"/>
                </a:buClr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3</a:t>
              </a:r>
            </a:p>
          </p:txBody>
        </p:sp>
      </p:grpSp>
      <p:sp>
        <p:nvSpPr>
          <p:cNvPr id="40" name="Textfeld 39">
            <a:extLst>
              <a:ext uri="{FF2B5EF4-FFF2-40B4-BE49-F238E27FC236}">
                <a16:creationId xmlns:a16="http://schemas.microsoft.com/office/drawing/2014/main" id="{75B76AEF-3362-FADB-55FD-3B68F3BA61AF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07990" y="3804811"/>
            <a:ext cx="3022856" cy="147732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1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</a:rPr>
              <a:t>IMPORTANT: 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If old presentations are copied in, page numbers or footers sometimes appear in the wrong place or formatted incorrectly. To avoid this, repeat twice until after the presentation has been completed: first remove all check marks and click "Apply to all" and then check the boxes again. This ensures that all settings are applied correctly.</a:t>
            </a:r>
          </a:p>
        </p:txBody>
      </p:sp>
      <p:sp>
        <p:nvSpPr>
          <p:cNvPr id="41" name="Ellipse 40">
            <a:extLst>
              <a:ext uri="{FF2B5EF4-FFF2-40B4-BE49-F238E27FC236}">
                <a16:creationId xmlns:a16="http://schemas.microsoft.com/office/drawing/2014/main" id="{4969657C-F5D8-FF5C-675C-414789BACAEE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2617402" y="4390504"/>
            <a:ext cx="130226" cy="13022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450"/>
              </a:spcBef>
              <a:spcAft>
                <a:spcPts val="0"/>
              </a:spcAft>
              <a:buClr>
                <a:srgbClr val="DF0B25"/>
              </a:buClr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1</a:t>
            </a:r>
          </a:p>
        </p:txBody>
      </p:sp>
      <p:sp>
        <p:nvSpPr>
          <p:cNvPr id="42" name="Ellipse 41">
            <a:extLst>
              <a:ext uri="{FF2B5EF4-FFF2-40B4-BE49-F238E27FC236}">
                <a16:creationId xmlns:a16="http://schemas.microsoft.com/office/drawing/2014/main" id="{16292E50-4B9A-0C72-6B32-7F977C002644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2941438" y="4394410"/>
            <a:ext cx="130226" cy="13022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450"/>
              </a:spcBef>
              <a:spcAft>
                <a:spcPts val="0"/>
              </a:spcAft>
              <a:buClr>
                <a:srgbClr val="DF0B25"/>
              </a:buClr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3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B91D64D-D4A3-E16D-54BD-A93F3DF532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oter via menu Insert-&gt; Header and footer 'Apply to all'</a:t>
            </a:r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4CD921F6-51AD-4454-667E-CADF743E3B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Page 4</a:t>
            </a:r>
            <a:fld id="{63A738E5-7FE5-4F0E-80D4-9B95A408A0CB}" type="slidenum">
              <a:rPr lang="de-DE" smtClean="0"/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5569892"/>
      </p:ext>
    </p:extLst>
  </p:cSld>
  <p:clrMapOvr>
    <a:masterClrMapping/>
  </p:clrMapOvr>
</p:sld>
</file>

<file path=ppt/slides/slide5.xml><?xml version="1.0" encoding="utf-8"?>
<p:sld xmlns:a16="http://schemas.microsoft.com/office/drawing/2014/main" xmlns:p14="http://schemas.microsoft.com/office/powerpoint/2010/main" xmlns:mc="http://schemas.openxmlformats.org/markup-compatibility/2006" xmlns:v="urn:schemas-microsoft-com:vml" xmlns:c="http://schemas.openxmlformats.org/drawingml/2006/chart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1F203216-FE08-748D-EB07-49AF58C07B9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27700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7" imgW="592" imgH="591" progId="TCLayout.ActiveDocument.1">
                  <p:embed/>
                </p:oleObj>
              </mc:Choice>
              <mc:Fallback>
                <p:oleObj name="think-cell Folie" r:id="rId17" imgW="592" imgH="591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1F203216-FE08-748D-EB07-49AF58C07B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98E57FE-13B8-AC88-55C0-A357A9523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Quick guide (5/6)</a:t>
            </a:r>
            <a:endParaRPr lang="en-US" dirty="0"/>
          </a:p>
        </p:txBody>
      </p:sp>
      <p:sp>
        <p:nvSpPr>
          <p:cNvPr id="16" name="textruta 28">
            <a:extLst>
              <a:ext uri="{FF2B5EF4-FFF2-40B4-BE49-F238E27FC236}">
                <a16:creationId xmlns:a16="http://schemas.microsoft.com/office/drawing/2014/main" id="{BBEC7388-2451-6AD9-122F-E7C4FD92A58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468587" y="2335600"/>
            <a:ext cx="3545045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Tables are preset as below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Only the header needs to be adjusted manually: 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j-lt"/>
              </a:rPr>
              <a:t>Font 'Univers Next Pro Medium', 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Customize everything else (font size, alignment, etc.) to your requirements. </a:t>
            </a:r>
          </a:p>
        </p:txBody>
      </p:sp>
      <p:sp>
        <p:nvSpPr>
          <p:cNvPr id="17" name="textruta 37">
            <a:extLst>
              <a:ext uri="{FF2B5EF4-FFF2-40B4-BE49-F238E27FC236}">
                <a16:creationId xmlns:a16="http://schemas.microsoft.com/office/drawing/2014/main" id="{874E7805-21EE-5775-B925-243967CEABD2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4468589" y="2060848"/>
            <a:ext cx="1943175" cy="2564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defRPr/>
            </a:pPr>
            <a:r>
              <a:rPr lang="de-DE" sz="1600" spc="10" dirty="0">
                <a:latin typeface="+mj-lt"/>
              </a:rPr>
              <a:t>Tables</a:t>
            </a:r>
          </a:p>
        </p:txBody>
      </p:sp>
      <p:sp>
        <p:nvSpPr>
          <p:cNvPr id="18" name="textruta 37">
            <a:extLst>
              <a:ext uri="{FF2B5EF4-FFF2-40B4-BE49-F238E27FC236}">
                <a16:creationId xmlns:a16="http://schemas.microsoft.com/office/drawing/2014/main" id="{4305B28F-1F2F-C444-A460-A3028660001B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407990" y="2060847"/>
            <a:ext cx="1943175" cy="2564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defRPr sz="1200" b="1" spc="10">
                <a:solidFill>
                  <a:schemeClr val="accent2"/>
                </a:solidFill>
                <a:latin typeface="+mj-lt"/>
              </a:defRPr>
            </a:lvl1pPr>
          </a:lstStyle>
          <a:p>
            <a:pPr>
              <a:defRPr/>
            </a:pPr>
            <a:r>
              <a:rPr lang="de-DE" sz="1600" b="0" dirty="0">
                <a:solidFill>
                  <a:schemeClr val="tx1"/>
                </a:solidFill>
              </a:rPr>
              <a:t>Diagrams</a:t>
            </a:r>
          </a:p>
        </p:txBody>
      </p:sp>
      <p:sp>
        <p:nvSpPr>
          <p:cNvPr id="19" name="textruta 28">
            <a:extLst>
              <a:ext uri="{FF2B5EF4-FFF2-40B4-BE49-F238E27FC236}">
                <a16:creationId xmlns:a16="http://schemas.microsoft.com/office/drawing/2014/main" id="{8EDBB738-EA68-30F4-15A7-52520468BCA5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407989" y="2335599"/>
            <a:ext cx="3242261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Diagrams are 2-D and are automatically created by PowerPoint. </a:t>
            </a: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</a:br>
            <a:r>
              <a:rPr lang="de-DE" sz="1200" dirty="0">
                <a:solidFill>
                  <a:srgbClr val="333333"/>
                </a:solidFill>
              </a:rPr>
              <a:t>Adjust the font size and colors to your requirements. </a:t>
            </a:r>
          </a:p>
        </p:txBody>
      </p:sp>
      <p:graphicFrame>
        <p:nvGraphicFramePr>
          <p:cNvPr id="20" name="Diagramm 19">
            <a:extLst>
              <a:ext uri="{FF2B5EF4-FFF2-40B4-BE49-F238E27FC236}">
                <a16:creationId xmlns:a16="http://schemas.microsoft.com/office/drawing/2014/main" id="{2D9B51EE-D207-20D5-5560-6C5934A2E19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01420644"/>
              </p:ext>
            </p:extLst>
          </p:nvPr>
        </p:nvGraphicFramePr>
        <p:xfrm>
          <a:off x="407989" y="3424879"/>
          <a:ext cx="3678985" cy="2642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cxnSp>
        <p:nvCxnSpPr>
          <p:cNvPr id="21" name="Rak 16">
            <a:extLst>
              <a:ext uri="{FF2B5EF4-FFF2-40B4-BE49-F238E27FC236}">
                <a16:creationId xmlns:a16="http://schemas.microsoft.com/office/drawing/2014/main" id="{AFA18A06-CB5C-37A9-4EBF-33BBED95600C}"/>
              </a:ext>
            </a:extLst>
          </p:cNvPr>
          <p:cNvCxnSpPr>
            <a:cxnSpLocks/>
          </p:cNvCxnSpPr>
          <p:nvPr/>
        </p:nvCxnSpPr>
        <p:spPr>
          <a:xfrm>
            <a:off x="8393025" y="2060847"/>
            <a:ext cx="0" cy="411611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Rak 16">
            <a:extLst>
              <a:ext uri="{FF2B5EF4-FFF2-40B4-BE49-F238E27FC236}">
                <a16:creationId xmlns:a16="http://schemas.microsoft.com/office/drawing/2014/main" id="{39A80B83-C63C-CF03-2221-1796C713C57E}"/>
              </a:ext>
            </a:extLst>
          </p:cNvPr>
          <p:cNvCxnSpPr>
            <a:cxnSpLocks/>
          </p:cNvCxnSpPr>
          <p:nvPr/>
        </p:nvCxnSpPr>
        <p:spPr>
          <a:xfrm>
            <a:off x="4187788" y="2060847"/>
            <a:ext cx="0" cy="411611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3" name="Tabelle 6">
            <a:extLst>
              <a:ext uri="{FF2B5EF4-FFF2-40B4-BE49-F238E27FC236}">
                <a16:creationId xmlns:a16="http://schemas.microsoft.com/office/drawing/2014/main" id="{83128925-3DE6-A39A-4067-F29F57989EB2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133398426"/>
              </p:ext>
            </p:extLst>
          </p:nvPr>
        </p:nvGraphicFramePr>
        <p:xfrm>
          <a:off x="4468589" y="3452764"/>
          <a:ext cx="3566860" cy="1219200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713372">
                  <a:extLst>
                    <a:ext uri="{9D8B030D-6E8A-4147-A177-3AD203B41FA5}">
                      <a16:colId xmlns:a16="http://schemas.microsoft.com/office/drawing/2014/main" val="2521478462"/>
                    </a:ext>
                  </a:extLst>
                </a:gridCol>
                <a:gridCol w="713372">
                  <a:extLst>
                    <a:ext uri="{9D8B030D-6E8A-4147-A177-3AD203B41FA5}">
                      <a16:colId xmlns:a16="http://schemas.microsoft.com/office/drawing/2014/main" val="732801881"/>
                    </a:ext>
                  </a:extLst>
                </a:gridCol>
                <a:gridCol w="713372">
                  <a:extLst>
                    <a:ext uri="{9D8B030D-6E8A-4147-A177-3AD203B41FA5}">
                      <a16:colId xmlns:a16="http://schemas.microsoft.com/office/drawing/2014/main" val="3495340390"/>
                    </a:ext>
                  </a:extLst>
                </a:gridCol>
                <a:gridCol w="713372">
                  <a:extLst>
                    <a:ext uri="{9D8B030D-6E8A-4147-A177-3AD203B41FA5}">
                      <a16:colId xmlns:a16="http://schemas.microsoft.com/office/drawing/2014/main" val="1798164680"/>
                    </a:ext>
                  </a:extLst>
                </a:gridCol>
                <a:gridCol w="713372">
                  <a:extLst>
                    <a:ext uri="{9D8B030D-6E8A-4147-A177-3AD203B41FA5}">
                      <a16:colId xmlns:a16="http://schemas.microsoft.com/office/drawing/2014/main" val="2720054121"/>
                    </a:ext>
                  </a:extLst>
                </a:gridCol>
              </a:tblGrid>
              <a:tr h="155680">
                <a:tc>
                  <a:txBody>
                    <a:bodyPr/>
                    <a:lstStyle/>
                    <a:p>
                      <a:r>
                        <a:rPr lang="de-DE" sz="1400" b="0" dirty="0">
                          <a:solidFill>
                            <a:schemeClr val="tx1"/>
                          </a:solidFill>
                          <a:latin typeface="+mj-lt"/>
                        </a:rPr>
                        <a:t>Text</a:t>
                      </a:r>
                      <a:endParaRPr lang="de-DE" sz="1400" b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</a:rPr>
                        <a:t>Text</a:t>
                      </a:r>
                      <a:endParaRPr kumimoji="0" lang="de-DE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</a:rPr>
                        <a:t>Text</a:t>
                      </a:r>
                      <a:endParaRPr kumimoji="0" lang="de-DE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</a:rPr>
                        <a:t>Text</a:t>
                      </a:r>
                      <a:endParaRPr kumimoji="0" lang="de-DE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</a:rPr>
                        <a:t>Text</a:t>
                      </a:r>
                      <a:endParaRPr kumimoji="0" lang="de-DE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80547624"/>
                  </a:ext>
                </a:extLst>
              </a:tr>
              <a:tr h="15568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Text</a:t>
                      </a:r>
                      <a:endParaRPr kumimoji="0" lang="de-DE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Text</a:t>
                      </a:r>
                      <a:endParaRPr kumimoji="0" lang="de-DE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Text</a:t>
                      </a:r>
                      <a:endParaRPr kumimoji="0" lang="de-DE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Text</a:t>
                      </a:r>
                      <a:endParaRPr kumimoji="0" lang="de-DE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Text</a:t>
                      </a:r>
                      <a:endParaRPr kumimoji="0" lang="de-DE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68281782"/>
                  </a:ext>
                </a:extLst>
              </a:tr>
              <a:tr h="15568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Text</a:t>
                      </a:r>
                      <a:endParaRPr kumimoji="0" lang="de-DE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Text</a:t>
                      </a:r>
                      <a:endParaRPr kumimoji="0" lang="de-DE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Text</a:t>
                      </a:r>
                      <a:endParaRPr kumimoji="0" lang="de-DE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Text</a:t>
                      </a:r>
                      <a:endParaRPr kumimoji="0" lang="de-DE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Text</a:t>
                      </a:r>
                      <a:endParaRPr kumimoji="0" lang="de-DE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01193255"/>
                  </a:ext>
                </a:extLst>
              </a:tr>
              <a:tr h="15568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Text</a:t>
                      </a:r>
                      <a:endParaRPr kumimoji="0" lang="de-DE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Text</a:t>
                      </a:r>
                      <a:endParaRPr kumimoji="0" lang="de-DE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Text</a:t>
                      </a:r>
                      <a:endParaRPr kumimoji="0" lang="de-DE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Text</a:t>
                      </a:r>
                      <a:endParaRPr kumimoji="0" lang="de-DE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Text</a:t>
                      </a:r>
                      <a:endParaRPr kumimoji="0" lang="de-DE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72865992"/>
                  </a:ext>
                </a:extLst>
              </a:tr>
            </a:tbl>
          </a:graphicData>
        </a:graphic>
      </p:graphicFrame>
      <p:sp>
        <p:nvSpPr>
          <p:cNvPr id="30" name="textruta 28">
            <a:extLst>
              <a:ext uri="{FF2B5EF4-FFF2-40B4-BE49-F238E27FC236}">
                <a16:creationId xmlns:a16="http://schemas.microsoft.com/office/drawing/2014/main" id="{084A3FFC-9EF5-F1EB-7C36-C47CBCDE121A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630864" y="2335599"/>
            <a:ext cx="3145347" cy="5970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u="none" strike="noStrike" kern="1200" cap="none" spc="1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j-lt"/>
              </a:rPr>
              <a:t>Do NOT use special effects </a:t>
            </a:r>
            <a:r>
              <a:rPr kumimoji="0" lang="de-DE" sz="1200" u="none" strike="noStrike" kern="1200" cap="none" spc="1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such as </a:t>
            </a:r>
            <a:r>
              <a:rPr kumimoji="0" lang="de-DE" sz="1200" u="none" strike="noStrike" kern="1200" cap="none" spc="1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j-lt"/>
              </a:rPr>
              <a:t>mirroring </a:t>
            </a:r>
            <a:r>
              <a:rPr kumimoji="0" lang="de-DE" sz="1200" u="none" strike="noStrike" kern="1200" cap="none" spc="1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or </a:t>
            </a:r>
            <a:r>
              <a:rPr kumimoji="0" lang="de-DE" sz="1200" u="none" strike="noStrike" kern="1200" cap="none" spc="1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j-lt"/>
              </a:rPr>
              <a:t>3D effects</a:t>
            </a:r>
            <a:r>
              <a:rPr kumimoji="0" lang="de-DE" sz="1200" u="none" strike="noStrike" kern="1200" cap="none" spc="1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! </a:t>
            </a:r>
            <a:r>
              <a:rPr kumimoji="0" lang="de-DE" sz="120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j-lt"/>
              </a:rPr>
              <a:t>Do NOT </a:t>
            </a:r>
            <a:r>
              <a:rPr kumimoji="0" lang="de-DE" sz="120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use </a:t>
            </a:r>
            <a:r>
              <a:rPr kumimoji="0" lang="de-DE" sz="1200" u="none" strike="noStrike" kern="1200" cap="none" spc="1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colors outside of the CD.</a:t>
            </a:r>
            <a:endParaRPr kumimoji="0" lang="en-US" sz="120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</a:endParaRPr>
          </a:p>
        </p:txBody>
      </p:sp>
      <p:sp>
        <p:nvSpPr>
          <p:cNvPr id="31" name="textruta 37">
            <a:extLst>
              <a:ext uri="{FF2B5EF4-FFF2-40B4-BE49-F238E27FC236}">
                <a16:creationId xmlns:a16="http://schemas.microsoft.com/office/drawing/2014/main" id="{6C58ABAB-82B2-B8D8-EC2F-A863F4A032D9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8630864" y="2060847"/>
            <a:ext cx="3145347" cy="2564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defRPr/>
            </a:pPr>
            <a:r>
              <a:rPr lang="de-DE" sz="1600" spc="10" dirty="0">
                <a:latin typeface="+mj-lt"/>
              </a:rPr>
              <a:t>Dos and Don'ts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9209C893-4BE2-4487-FBCF-68B8C08C6003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8648740" y="3391583"/>
            <a:ext cx="754997" cy="754997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glow rad="101600">
              <a:schemeClr val="accent2">
                <a:satMod val="175000"/>
                <a:alpha val="40000"/>
              </a:scheme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66700" marR="0" lvl="0" indent="-2667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E6E6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e-DE" sz="1800" b="0" i="0" u="none" strike="noStrike" kern="1200" cap="none" spc="0" normalizeH="0" baseline="0" noProof="0" dirty="0" err="1">
              <a:ln>
                <a:noFill/>
              </a:ln>
              <a:solidFill>
                <a:srgbClr val="333333"/>
              </a:solidFill>
              <a:effectLst/>
              <a:uLnTx/>
              <a:uFillTx/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67A271E7-7DE1-9F9F-5D69-9D8B3283D0DD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9996787" y="3391583"/>
            <a:ext cx="754997" cy="754997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225425" dist="50800" dir="5220000" algn="ctr">
              <a:srgbClr val="000000">
                <a:alpha val="33000"/>
              </a:srgbClr>
            </a:outerShdw>
          </a:effectLst>
          <a:scene3d>
            <a:camera prst="perspectiveFront" fov="3300000">
              <a:rot lat="486000" lon="19530000" rev="174000"/>
            </a:camera>
            <a:lightRig rig="harsh" dir="t">
              <a:rot lat="0" lon="0" rev="3000000"/>
            </a:lightRig>
          </a:scene3d>
          <a:sp3d extrusionH="254000" contourW="19050">
            <a:bevelT w="82550" h="44450" prst="angle"/>
            <a:bevelB w="82550" h="44450" prst="angle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66700" marR="0" lvl="0" indent="-2667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E6E6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e-DE" sz="1800" b="0" i="0" u="none" strike="noStrike" kern="1200" cap="none" spc="0" normalizeH="0" baseline="0" noProof="0" dirty="0" err="1">
              <a:ln>
                <a:noFill/>
              </a:ln>
              <a:solidFill>
                <a:srgbClr val="333333"/>
              </a:solidFill>
              <a:effectLst/>
              <a:uLnTx/>
              <a:uFillTx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6FECFBB6-4A29-D1CA-433C-9A31F9C2D187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0971945" y="3391583"/>
            <a:ext cx="754997" cy="754997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reflection blurRad="6350" stA="50000" endA="300" endPos="38500" dist="508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66700" marR="0" lvl="0" indent="-2667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E6E6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e-DE" sz="1800" b="0" i="0" u="none" strike="noStrike" kern="1200" cap="none" spc="0" normalizeH="0" baseline="0" noProof="0" dirty="0" err="1">
              <a:ln>
                <a:noFill/>
              </a:ln>
              <a:solidFill>
                <a:srgbClr val="333333"/>
              </a:solidFill>
              <a:effectLst/>
              <a:uLnTx/>
              <a:uFillTx/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8E70E454-54BF-C31E-FFC3-4F40B0452201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8648740" y="4688339"/>
            <a:ext cx="754997" cy="754997"/>
          </a:xfrm>
          <a:prstGeom prst="rect">
            <a:avLst/>
          </a:prstGeom>
          <a:solidFill>
            <a:srgbClr val="FFFF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66700" marR="0" lvl="0" indent="-2667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E6E6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e-DE" sz="1800" b="0" i="0" u="none" strike="noStrike" kern="1200" cap="none" spc="0" normalizeH="0" baseline="0" noProof="0" dirty="0" err="1">
              <a:ln>
                <a:noFill/>
              </a:ln>
              <a:solidFill>
                <a:srgbClr val="333333"/>
              </a:solidFill>
              <a:effectLst/>
              <a:uLnTx/>
              <a:uFillTx/>
            </a:endParaRP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91409751-F3E4-501F-070F-6D35603B6C6D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8901419" y="4853385"/>
            <a:ext cx="754997" cy="754997"/>
          </a:xfrm>
          <a:prstGeom prst="rect">
            <a:avLst/>
          </a:prstGeom>
          <a:solidFill>
            <a:srgbClr val="7030A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66700" marR="0" lvl="0" indent="-2667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E6E6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e-DE" sz="1800" b="0" i="0" u="none" strike="noStrike" kern="1200" cap="none" spc="0" normalizeH="0" baseline="0" noProof="0" dirty="0" err="1">
              <a:ln>
                <a:noFill/>
              </a:ln>
              <a:solidFill>
                <a:srgbClr val="333333"/>
              </a:solidFill>
              <a:effectLst/>
              <a:uLnTx/>
              <a:uFillTx/>
            </a:endParaRP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36414092-2006-9817-584B-C6DAE3461C08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9154096" y="5018430"/>
            <a:ext cx="754997" cy="754997"/>
          </a:xfrm>
          <a:prstGeom prst="rect">
            <a:avLst/>
          </a:prstGeom>
          <a:solidFill>
            <a:srgbClr val="00B05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66700" marR="0" lvl="0" indent="-2667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E6E6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e-DE" sz="1800" b="0" i="0" u="none" strike="noStrike" kern="1200" cap="none" spc="0" normalizeH="0" baseline="0" noProof="0" dirty="0" err="1">
              <a:ln>
                <a:noFill/>
              </a:ln>
              <a:solidFill>
                <a:srgbClr val="333333"/>
              </a:solidFill>
              <a:effectLst/>
              <a:uLnTx/>
              <a:uFillTx/>
            </a:endParaRP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8EF4918B-E0F1-A06F-8161-AC4F8A71A3A1}"/>
              </a:ext>
            </a:extLst>
          </p:cNvPr>
          <p:cNvGrpSpPr/>
          <p:nvPr/>
        </p:nvGrpSpPr>
        <p:grpSpPr>
          <a:xfrm>
            <a:off x="8638666" y="3304789"/>
            <a:ext cx="3145347" cy="2349452"/>
            <a:chOff x="8545779" y="2473949"/>
            <a:chExt cx="3145347" cy="2349452"/>
          </a:xfrm>
        </p:grpSpPr>
        <p:cxnSp>
          <p:nvCxnSpPr>
            <p:cNvPr id="4" name="Gerader Verbinder 3">
              <a:extLst>
                <a:ext uri="{FF2B5EF4-FFF2-40B4-BE49-F238E27FC236}">
                  <a16:creationId xmlns:a16="http://schemas.microsoft.com/office/drawing/2014/main" id="{5D0D0E30-65A3-8EE6-A036-A9336CEB2094}"/>
                </a:ext>
              </a:extLst>
            </p:cNvPr>
            <p:cNvCxnSpPr>
              <a:cxnSpLocks/>
            </p:cNvCxnSpPr>
            <p:nvPr/>
          </p:nvCxnSpPr>
          <p:spPr>
            <a:xfrm>
              <a:off x="8545779" y="2473949"/>
              <a:ext cx="3145347" cy="2349452"/>
            </a:xfrm>
            <a:prstGeom prst="line">
              <a:avLst/>
            </a:prstGeom>
            <a:ln w="571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r Verbinder 8">
              <a:extLst>
                <a:ext uri="{FF2B5EF4-FFF2-40B4-BE49-F238E27FC236}">
                  <a16:creationId xmlns:a16="http://schemas.microsoft.com/office/drawing/2014/main" id="{D12CFE68-CA6D-1D69-6B21-01D332E6605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545779" y="2473949"/>
              <a:ext cx="3145347" cy="2349452"/>
            </a:xfrm>
            <a:prstGeom prst="line">
              <a:avLst/>
            </a:prstGeom>
            <a:ln w="571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6D7DED6-90A3-517C-1528-AAF6C03250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oter via menu Insert-&gt; Header and footer 'Apply to all'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A182C9FF-3C11-1882-358A-F98DDD2C5A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Page 5</a:t>
            </a:r>
            <a:fld id="{63A738E5-7FE5-4F0E-80D4-9B95A408A0CB}" type="slidenum">
              <a:rPr lang="de-DE" smtClean="0"/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076304"/>
      </p:ext>
    </p:extLst>
  </p:cSld>
  <p:clrMapOvr>
    <a:masterClrMapping/>
  </p:clrMapOvr>
</p:sld>
</file>

<file path=ppt/slides/slide6.xml><?xml version="1.0" encoding="utf-8"?>
<p:sld xmlns:a16="http://schemas.microsoft.com/office/drawing/2014/main" xmlns:p14="http://schemas.microsoft.com/office/powerpoint/2010/main" xmlns:mc="http://schemas.openxmlformats.org/markup-compatibility/2006" xmlns:v="urn:schemas-microsoft-com:vml" xmlns:a14="http://schemas.microsoft.com/office/drawing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kt 20" hidden="1">
            <a:extLst>
              <a:ext uri="{FF2B5EF4-FFF2-40B4-BE49-F238E27FC236}">
                <a16:creationId xmlns:a16="http://schemas.microsoft.com/office/drawing/2014/main" id="{35AB4B53-77C2-43D9-86D4-071AC03E882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99195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8" imgW="592" imgH="591" progId="TCLayout.ActiveDocument.1">
                  <p:embed/>
                </p:oleObj>
              </mc:Choice>
              <mc:Fallback>
                <p:oleObj name="think-cell Folie" r:id="rId28" imgW="592" imgH="591" progId="TCLayout.ActiveDocument.1">
                  <p:embed/>
                  <p:pic>
                    <p:nvPicPr>
                      <p:cNvPr id="21" name="Objekt 20" hidden="1">
                        <a:extLst>
                          <a:ext uri="{FF2B5EF4-FFF2-40B4-BE49-F238E27FC236}">
                            <a16:creationId xmlns:a16="http://schemas.microsoft.com/office/drawing/2014/main" id="{35AB4B53-77C2-43D9-86D4-071AC03E88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Grafik 13">
            <a:extLst>
              <a:ext uri="{FF2B5EF4-FFF2-40B4-BE49-F238E27FC236}">
                <a16:creationId xmlns:a16="http://schemas.microsoft.com/office/drawing/2014/main" id="{43BA984B-C813-3C94-2361-C7D505B78E85}"/>
              </a:ext>
            </a:extLst>
          </p:cNvPr>
          <p:cNvPicPr>
            <a:picLocks noChangeAspect="1"/>
          </p:cNvPicPr>
          <p:nvPr/>
        </p:nvPicPr>
        <p:blipFill rotWithShape="1">
          <a:blip r:embed="rId30"/>
          <a:srcRect r="53201"/>
          <a:stretch/>
        </p:blipFill>
        <p:spPr>
          <a:xfrm>
            <a:off x="5006138" y="2854115"/>
            <a:ext cx="988835" cy="950813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E360EFF0-8B1B-C003-18DE-1FC7F4F79F26}"/>
              </a:ext>
            </a:extLst>
          </p:cNvPr>
          <p:cNvPicPr>
            <a:picLocks noChangeAspect="1"/>
          </p:cNvPicPr>
          <p:nvPr/>
        </p:nvPicPr>
        <p:blipFill>
          <a:blip r:embed="rId31"/>
          <a:srcRect/>
          <a:stretch>
            <a:fillRect/>
          </a:stretch>
        </p:blipFill>
        <p:spPr>
          <a:xfrm>
            <a:off x="5130848" y="4581899"/>
            <a:ext cx="1195522" cy="848199"/>
          </a:xfrm>
          <a:custGeom>
            <a:avLst/>
            <a:gdLst>
              <a:gd name="connsiteX0" fmla="*/ 0 w 1345884"/>
              <a:gd name="connsiteY0" fmla="*/ 0 h 954878"/>
              <a:gd name="connsiteX1" fmla="*/ 1345884 w 1345884"/>
              <a:gd name="connsiteY1" fmla="*/ 0 h 954878"/>
              <a:gd name="connsiteX2" fmla="*/ 1345884 w 1345884"/>
              <a:gd name="connsiteY2" fmla="*/ 954878 h 954878"/>
              <a:gd name="connsiteX3" fmla="*/ 664408 w 1345884"/>
              <a:gd name="connsiteY3" fmla="*/ 954878 h 954878"/>
              <a:gd name="connsiteX4" fmla="*/ 664408 w 1345884"/>
              <a:gd name="connsiteY4" fmla="*/ 224567 h 954878"/>
              <a:gd name="connsiteX5" fmla="*/ 0 w 1345884"/>
              <a:gd name="connsiteY5" fmla="*/ 224567 h 9548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345884" h="954878">
                <a:moveTo>
                  <a:pt x="0" y="0"/>
                </a:moveTo>
                <a:lnTo>
                  <a:pt x="1345884" y="0"/>
                </a:lnTo>
                <a:lnTo>
                  <a:pt x="1345884" y="954878"/>
                </a:lnTo>
                <a:lnTo>
                  <a:pt x="664408" y="954878"/>
                </a:lnTo>
                <a:lnTo>
                  <a:pt x="664408" y="224567"/>
                </a:lnTo>
                <a:lnTo>
                  <a:pt x="0" y="224567"/>
                </a:lnTo>
                <a:close/>
              </a:path>
            </a:pathLst>
          </a:custGeom>
        </p:spPr>
      </p:pic>
      <p:sp>
        <p:nvSpPr>
          <p:cNvPr id="111" name="textruta 57">
            <a:extLst>
              <a:ext uri="{FF2B5EF4-FFF2-40B4-BE49-F238E27FC236}">
                <a16:creationId xmlns:a16="http://schemas.microsoft.com/office/drawing/2014/main" id="{1C206FDF-CDE9-4CEA-B24B-0211A4C9423C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5018772" y="3933056"/>
            <a:ext cx="2205853" cy="44775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buClr>
                <a:schemeClr val="accent1"/>
              </a:buClr>
            </a:pPr>
            <a:r>
              <a:rPr lang="de-DE" sz="900" dirty="0">
                <a:latin typeface="+mj-lt"/>
              </a:rPr>
              <a:t>Text alignment and inner margins </a:t>
            </a:r>
            <a:br>
              <a:rPr lang="de-DE" sz="900" dirty="0">
                <a:latin typeface="+mj-lt"/>
              </a:rPr>
            </a:br>
            <a:r>
              <a:rPr lang="de-DE" sz="900" dirty="0"/>
              <a:t>To design shapes and text fields according to your wishes, use the: Vertical alignment</a:t>
            </a:r>
            <a:endParaRPr lang="de-DE" sz="1400" dirty="0">
              <a:solidFill>
                <a:schemeClr val="accent1"/>
              </a:solidFill>
            </a:endParaRPr>
          </a:p>
        </p:txBody>
      </p:sp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39C41AD3-18D2-43F0-AF92-B59C74CEC8C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>
              <a:buClr>
                <a:schemeClr val="tx2"/>
              </a:buClr>
            </a:pPr>
            <a:endParaRPr lang="de-DE" sz="2400" b="1" dirty="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7666895-CFB2-45D8-9226-E9D0B2B477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90" y="404813"/>
            <a:ext cx="11376024" cy="415498"/>
          </a:xfrm>
        </p:spPr>
        <p:txBody>
          <a:bodyPr vert="horz"/>
          <a:lstStyle/>
          <a:p>
            <a:r>
              <a:rPr lang="de-DE" dirty="0"/>
              <a:t>Quick guide (6/6)</a:t>
            </a:r>
            <a:endParaRPr lang="en-US" dirty="0"/>
          </a:p>
        </p:txBody>
      </p:sp>
      <p:cxnSp>
        <p:nvCxnSpPr>
          <p:cNvPr id="71" name="Rak 42">
            <a:extLst>
              <a:ext uri="{FF2B5EF4-FFF2-40B4-BE49-F238E27FC236}">
                <a16:creationId xmlns:a16="http://schemas.microsoft.com/office/drawing/2014/main" id="{41202358-F664-4442-9614-DB1A147034C9}"/>
              </a:ext>
            </a:extLst>
          </p:cNvPr>
          <p:cNvCxnSpPr>
            <a:cxnSpLocks/>
          </p:cNvCxnSpPr>
          <p:nvPr/>
        </p:nvCxnSpPr>
        <p:spPr>
          <a:xfrm>
            <a:off x="4655840" y="2060847"/>
            <a:ext cx="0" cy="411611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ruta 57">
            <a:extLst>
              <a:ext uri="{FF2B5EF4-FFF2-40B4-BE49-F238E27FC236}">
                <a16:creationId xmlns:a16="http://schemas.microsoft.com/office/drawing/2014/main" id="{7FEE4A8C-DA86-42B7-B945-CD0D96CA34DD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018772" y="2406538"/>
            <a:ext cx="1424260" cy="44775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</a:pPr>
            <a:r>
              <a:rPr lang="de-DE" sz="900" dirty="0">
                <a:latin typeface="+mj-lt"/>
              </a:rPr>
              <a:t>Text field and shapes</a:t>
            </a:r>
            <a:br>
              <a:rPr lang="de-DE" sz="900" dirty="0">
                <a:latin typeface="+mj-lt"/>
              </a:rPr>
            </a:br>
            <a:r>
              <a:rPr lang="de-DE" sz="900" dirty="0"/>
              <a:t>Each shape is also a text field and can be labeled.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AB470ABE-2E4C-44C1-B31D-5D7D875CE7BB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6437054" y="2558887"/>
            <a:ext cx="1021050" cy="29540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</a:pPr>
            <a:r>
              <a:rPr lang="de-DE" sz="900" dirty="0"/>
              <a:t>DO NOT use text field AND form</a:t>
            </a:r>
            <a:endParaRPr lang="en-US" sz="900" dirty="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23F47F2A-D324-2C13-E2DC-73BBC4FAA487}"/>
              </a:ext>
            </a:extLst>
          </p:cNvPr>
          <p:cNvPicPr>
            <a:picLocks noChangeAspect="1"/>
          </p:cNvPicPr>
          <p:nvPr/>
        </p:nvPicPr>
        <p:blipFill>
          <a:blip r:embed="rId32"/>
          <a:stretch>
            <a:fillRect/>
          </a:stretch>
        </p:blipFill>
        <p:spPr>
          <a:xfrm>
            <a:off x="7985460" y="4166846"/>
            <a:ext cx="1064897" cy="1953616"/>
          </a:xfrm>
          <a:prstGeom prst="rect">
            <a:avLst/>
          </a:prstGeom>
        </p:spPr>
      </p:pic>
      <p:sp>
        <p:nvSpPr>
          <p:cNvPr id="117" name="Rektangel 21">
            <a:extLst>
              <a:ext uri="{FF2B5EF4-FFF2-40B4-BE49-F238E27FC236}">
                <a16:creationId xmlns:a16="http://schemas.microsoft.com/office/drawing/2014/main" id="{F77A3E94-C6E1-4D01-A9BE-4B10EE98ECC0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976371" y="4926719"/>
            <a:ext cx="1213645" cy="121620"/>
          </a:xfrm>
          <a:prstGeom prst="rect">
            <a:avLst/>
          </a:prstGeom>
          <a:solidFill>
            <a:schemeClr val="tx2">
              <a:alpha val="4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</a:pPr>
            <a:endParaRPr lang="de-DE" sz="1500" spc="40" dirty="0">
              <a:solidFill>
                <a:schemeClr val="tx1"/>
              </a:solidFill>
            </a:endParaRPr>
          </a:p>
        </p:txBody>
      </p:sp>
      <p:sp>
        <p:nvSpPr>
          <p:cNvPr id="119" name="Rektangel 21">
            <a:extLst>
              <a:ext uri="{FF2B5EF4-FFF2-40B4-BE49-F238E27FC236}">
                <a16:creationId xmlns:a16="http://schemas.microsoft.com/office/drawing/2014/main" id="{127A9EE1-EC33-4A18-B0D0-BDE1333166C6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710966" y="4753076"/>
            <a:ext cx="615403" cy="705823"/>
          </a:xfrm>
          <a:prstGeom prst="rect">
            <a:avLst/>
          </a:prstGeom>
          <a:solidFill>
            <a:schemeClr val="tx2">
              <a:alpha val="4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</a:pPr>
            <a:endParaRPr lang="de-DE" sz="1500" spc="40" dirty="0">
              <a:solidFill>
                <a:schemeClr val="tx1"/>
              </a:solidFill>
            </a:endParaRPr>
          </a:p>
        </p:txBody>
      </p:sp>
      <p:sp>
        <p:nvSpPr>
          <p:cNvPr id="120" name="Rektangel 21">
            <a:extLst>
              <a:ext uri="{FF2B5EF4-FFF2-40B4-BE49-F238E27FC236}">
                <a16:creationId xmlns:a16="http://schemas.microsoft.com/office/drawing/2014/main" id="{A2E80BA5-CA3A-458C-8570-F2B391E91240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7976372" y="5318864"/>
            <a:ext cx="1213644" cy="504000"/>
          </a:xfrm>
          <a:prstGeom prst="rect">
            <a:avLst/>
          </a:prstGeom>
          <a:solidFill>
            <a:schemeClr val="tx2">
              <a:alpha val="4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</a:pPr>
            <a:endParaRPr lang="de-DE" sz="1500" spc="40" dirty="0">
              <a:solidFill>
                <a:schemeClr val="tx1"/>
              </a:solidFill>
            </a:endParaRPr>
          </a:p>
        </p:txBody>
      </p:sp>
      <p:sp>
        <p:nvSpPr>
          <p:cNvPr id="121" name="Rektangel 21">
            <a:extLst>
              <a:ext uri="{FF2B5EF4-FFF2-40B4-BE49-F238E27FC236}">
                <a16:creationId xmlns:a16="http://schemas.microsoft.com/office/drawing/2014/main" id="{4C62A10E-D237-4147-A2FC-A7FEB460B89E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7976371" y="5822863"/>
            <a:ext cx="1213644" cy="87542"/>
          </a:xfrm>
          <a:prstGeom prst="rect">
            <a:avLst/>
          </a:prstGeom>
          <a:solidFill>
            <a:schemeClr val="tx2">
              <a:alpha val="4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</a:pPr>
            <a:endParaRPr lang="de-DE" sz="1500" spc="40" dirty="0">
              <a:solidFill>
                <a:schemeClr val="tx1"/>
              </a:solidFill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8834C8B4-44C5-431D-8719-0EACE92395DD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9504917" y="4434664"/>
            <a:ext cx="396042" cy="28879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Bef>
                <a:spcPts val="600"/>
              </a:spcBef>
            </a:pP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67" name="textruta 34">
            <a:extLst>
              <a:ext uri="{FF2B5EF4-FFF2-40B4-BE49-F238E27FC236}">
                <a16:creationId xmlns:a16="http://schemas.microsoft.com/office/drawing/2014/main" id="{84C3021E-9AA9-43D0-A0F1-61515AC593C9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407989" y="2406538"/>
            <a:ext cx="3659942" cy="60010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defRPr sz="1200" b="1" spc="10">
                <a:solidFill>
                  <a:schemeClr val="accent2"/>
                </a:solidFill>
                <a:latin typeface="+mj-lt"/>
              </a:defRPr>
            </a:lvl1pPr>
          </a:lstStyle>
          <a:p>
            <a:r>
              <a:rPr lang="de-DE" sz="900" b="0" dirty="0">
                <a:solidFill>
                  <a:schemeClr val="tx1"/>
                </a:solidFill>
              </a:rPr>
              <a:t>Align objects </a:t>
            </a:r>
            <a:br>
              <a:rPr lang="de-DE" sz="900" b="0" dirty="0">
                <a:solidFill>
                  <a:schemeClr val="tx1"/>
                </a:solidFill>
              </a:rPr>
            </a:br>
            <a:r>
              <a:rPr lang="de-DE" sz="900" b="0" dirty="0">
                <a:solidFill>
                  <a:schemeClr val="tx1"/>
                </a:solidFill>
                <a:latin typeface="+mn-lt"/>
              </a:rPr>
              <a:t>Select the objects that you want to align. Go to Start and click on Arrange. Select Align and the desired alignment options.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</a:endParaRPr>
          </a:p>
        </p:txBody>
      </p:sp>
      <p:pic>
        <p:nvPicPr>
          <p:cNvPr id="82" name="Picture 3">
            <a:extLst>
              <a:ext uri="{FF2B5EF4-FFF2-40B4-BE49-F238E27FC236}">
                <a16:creationId xmlns:a16="http://schemas.microsoft.com/office/drawing/2014/main" id="{56BB62B8-8A3C-4BE4-A598-E27682EBC2FF}"/>
              </a:ext>
            </a:extLst>
          </p:cNvPr>
          <p:cNvPicPr>
            <a:picLocks noChangeAspect="1"/>
          </p:cNvPicPr>
          <p:nvPr/>
        </p:nvPicPr>
        <p:blipFill rotWithShape="1"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0" r="6906"/>
          <a:stretch/>
        </p:blipFill>
        <p:spPr>
          <a:xfrm>
            <a:off x="2763505" y="3551669"/>
            <a:ext cx="1610228" cy="1781995"/>
          </a:xfrm>
          <a:prstGeom prst="rect">
            <a:avLst/>
          </a:prstGeom>
        </p:spPr>
      </p:pic>
      <p:sp>
        <p:nvSpPr>
          <p:cNvPr id="83" name="Rektangel 21">
            <a:extLst>
              <a:ext uri="{FF2B5EF4-FFF2-40B4-BE49-F238E27FC236}">
                <a16:creationId xmlns:a16="http://schemas.microsoft.com/office/drawing/2014/main" id="{B9F26371-EEAC-4EC8-A766-353B1469E748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2738633" y="4914414"/>
            <a:ext cx="1184852" cy="382562"/>
          </a:xfrm>
          <a:prstGeom prst="rect">
            <a:avLst/>
          </a:prstGeom>
          <a:solidFill>
            <a:schemeClr val="tx2">
              <a:alpha val="4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</a:pPr>
            <a:endParaRPr lang="de-DE" sz="1500" spc="40" dirty="0">
              <a:solidFill>
                <a:schemeClr val="tx1"/>
              </a:solidFill>
            </a:endParaRPr>
          </a:p>
        </p:txBody>
      </p:sp>
      <p:sp>
        <p:nvSpPr>
          <p:cNvPr id="85" name="Rektangel 55">
            <a:extLst>
              <a:ext uri="{FF2B5EF4-FFF2-40B4-BE49-F238E27FC236}">
                <a16:creationId xmlns:a16="http://schemas.microsoft.com/office/drawing/2014/main" id="{5000CF07-BB7D-4A34-9772-64D62511676D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2738633" y="3574830"/>
            <a:ext cx="1184852" cy="1298538"/>
          </a:xfrm>
          <a:prstGeom prst="rect">
            <a:avLst/>
          </a:prstGeom>
          <a:solidFill>
            <a:schemeClr val="tx2">
              <a:alpha val="4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</a:pPr>
            <a:endParaRPr lang="de-DE" sz="1500" spc="40" dirty="0">
              <a:solidFill>
                <a:schemeClr val="tx1"/>
              </a:solidFill>
            </a:endParaRPr>
          </a:p>
        </p:txBody>
      </p:sp>
      <p:cxnSp>
        <p:nvCxnSpPr>
          <p:cNvPr id="86" name="Verbinder: gewinkelt 85">
            <a:extLst>
              <a:ext uri="{FF2B5EF4-FFF2-40B4-BE49-F238E27FC236}">
                <a16:creationId xmlns:a16="http://schemas.microsoft.com/office/drawing/2014/main" id="{B19222AF-ECD0-4B16-8F39-17B124D93F23}"/>
              </a:ext>
            </a:extLst>
          </p:cNvPr>
          <p:cNvCxnSpPr>
            <a:cxnSpLocks/>
            <a:stCxn id="75" idx="3"/>
            <a:endCxn id="83" idx="1"/>
          </p:cNvCxnSpPr>
          <p:nvPr/>
        </p:nvCxnSpPr>
        <p:spPr>
          <a:xfrm>
            <a:off x="2252295" y="4030439"/>
            <a:ext cx="486338" cy="1075256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Verbinder: gewinkelt 87">
            <a:extLst>
              <a:ext uri="{FF2B5EF4-FFF2-40B4-BE49-F238E27FC236}">
                <a16:creationId xmlns:a16="http://schemas.microsoft.com/office/drawing/2014/main" id="{55AF4925-B195-4293-B7AA-A5921C9BB143}"/>
              </a:ext>
            </a:extLst>
          </p:cNvPr>
          <p:cNvCxnSpPr>
            <a:cxnSpLocks/>
          </p:cNvCxnSpPr>
          <p:nvPr/>
        </p:nvCxnSpPr>
        <p:spPr>
          <a:xfrm rot="16200000" flipH="1">
            <a:off x="2214783" y="2714241"/>
            <a:ext cx="574796" cy="1159070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Verbinder: gewinkelt 33">
            <a:extLst>
              <a:ext uri="{FF2B5EF4-FFF2-40B4-BE49-F238E27FC236}">
                <a16:creationId xmlns:a16="http://schemas.microsoft.com/office/drawing/2014/main" id="{04F862EB-1AD5-4929-8B1C-F7E4A8892998}"/>
              </a:ext>
            </a:extLst>
          </p:cNvPr>
          <p:cNvCxnSpPr>
            <a:cxnSpLocks/>
            <a:endCxn id="117" idx="1"/>
          </p:cNvCxnSpPr>
          <p:nvPr/>
        </p:nvCxnSpPr>
        <p:spPr>
          <a:xfrm>
            <a:off x="7327503" y="4089583"/>
            <a:ext cx="648868" cy="897946"/>
          </a:xfrm>
          <a:prstGeom prst="bentConnector3">
            <a:avLst>
              <a:gd name="adj1" fmla="val 50000"/>
            </a:avLst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Verbinder: gewinkelt 14">
            <a:extLst>
              <a:ext uri="{FF2B5EF4-FFF2-40B4-BE49-F238E27FC236}">
                <a16:creationId xmlns:a16="http://schemas.microsoft.com/office/drawing/2014/main" id="{8F7C4DCC-EF78-4A37-A73D-2ED5CF56DCDC}"/>
              </a:ext>
            </a:extLst>
          </p:cNvPr>
          <p:cNvCxnSpPr>
            <a:cxnSpLocks/>
            <a:stCxn id="58" idx="3"/>
            <a:endCxn id="121" idx="1"/>
          </p:cNvCxnSpPr>
          <p:nvPr/>
        </p:nvCxnSpPr>
        <p:spPr>
          <a:xfrm flipV="1">
            <a:off x="7654029" y="5866634"/>
            <a:ext cx="322342" cy="120077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feld 56">
            <a:extLst>
              <a:ext uri="{FF2B5EF4-FFF2-40B4-BE49-F238E27FC236}">
                <a16:creationId xmlns:a16="http://schemas.microsoft.com/office/drawing/2014/main" id="{B087043F-32B9-4847-A748-3DB3C819AA00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5787309" y="5347186"/>
            <a:ext cx="1866720" cy="23564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r" fontAlgn="auto"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buClr>
                <a:schemeClr val="accent1"/>
              </a:buClr>
              <a:buSzTx/>
              <a:tabLst/>
              <a:defRPr/>
            </a:pPr>
            <a:r>
              <a:rPr lang="de-DE" sz="900" dirty="0">
                <a:latin typeface="+mj-lt"/>
              </a:rPr>
              <a:t>Inner edges</a:t>
            </a:r>
          </a:p>
        </p:txBody>
      </p:sp>
      <p:cxnSp>
        <p:nvCxnSpPr>
          <p:cNvPr id="77" name="Verbinder: gewinkelt 14">
            <a:extLst>
              <a:ext uri="{FF2B5EF4-FFF2-40B4-BE49-F238E27FC236}">
                <a16:creationId xmlns:a16="http://schemas.microsoft.com/office/drawing/2014/main" id="{54306121-4238-4B17-A0AB-ABCAF19473F6}"/>
              </a:ext>
            </a:extLst>
          </p:cNvPr>
          <p:cNvCxnSpPr>
            <a:cxnSpLocks/>
            <a:stCxn id="57" idx="3"/>
            <a:endCxn id="120" idx="1"/>
          </p:cNvCxnSpPr>
          <p:nvPr/>
        </p:nvCxnSpPr>
        <p:spPr>
          <a:xfrm>
            <a:off x="7654029" y="5465007"/>
            <a:ext cx="322343" cy="105857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textruta 57">
            <a:extLst>
              <a:ext uri="{FF2B5EF4-FFF2-40B4-BE49-F238E27FC236}">
                <a16:creationId xmlns:a16="http://schemas.microsoft.com/office/drawing/2014/main" id="{F58A2D03-DFEA-402D-9390-0B0F13DC75FF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7921902" y="2406538"/>
            <a:ext cx="3440884" cy="44775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buClr>
                <a:schemeClr val="accent1"/>
              </a:buClr>
            </a:pPr>
            <a:r>
              <a:rPr lang="de-DE" sz="900" dirty="0">
                <a:latin typeface="+mj-lt"/>
              </a:rPr>
              <a:t>Straight line, circles and squares</a:t>
            </a:r>
            <a:br>
              <a:rPr lang="de-DE" sz="900" dirty="0">
                <a:latin typeface="+mj-lt"/>
              </a:rPr>
            </a:br>
            <a:r>
              <a:rPr lang="de-DE" sz="900" dirty="0"/>
              <a:t>To draw a straight line, a circle or a square, hold down the Shift key while drawing.</a:t>
            </a:r>
            <a:endParaRPr lang="en-US" sz="900" dirty="0"/>
          </a:p>
        </p:txBody>
      </p:sp>
      <p:sp>
        <p:nvSpPr>
          <p:cNvPr id="87" name="Rectangle: Rounded Corners 46">
            <a:extLst>
              <a:ext uri="{FF2B5EF4-FFF2-40B4-BE49-F238E27FC236}">
                <a16:creationId xmlns:a16="http://schemas.microsoft.com/office/drawing/2014/main" id="{F47F5A8D-FD0B-45E5-BB72-3B2454906490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9297326" y="3161188"/>
            <a:ext cx="580202" cy="439982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2800" rtlCol="0" anchor="ctr"/>
          <a:lstStyle/>
          <a:p>
            <a:pPr algn="ctr">
              <a:lnSpc>
                <a:spcPct val="80000"/>
              </a:lnSpc>
            </a:pPr>
            <a:r>
              <a:rPr lang="de-DE" dirty="0">
                <a:solidFill>
                  <a:schemeClr val="tx1"/>
                </a:solidFill>
                <a:sym typeface="Wingdings 3" panose="05040102010807070707" pitchFamily="18" charset="2"/>
              </a:rPr>
              <a:t>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42" name="textruta 34">
            <a:extLst>
              <a:ext uri="{FF2B5EF4-FFF2-40B4-BE49-F238E27FC236}">
                <a16:creationId xmlns:a16="http://schemas.microsoft.com/office/drawing/2014/main" id="{AED337DF-A9EA-4AAA-B838-3905D3339F76}"/>
              </a:ext>
            </a:extLst>
          </p:cNvPr>
          <p:cNvSpPr txBox="1"/>
          <p:nvPr>
            <p:custDataLst>
              <p:tags r:id="rId17"/>
            </p:custDataLst>
          </p:nvPr>
        </p:nvSpPr>
        <p:spPr>
          <a:xfrm>
            <a:off x="407989" y="2060847"/>
            <a:ext cx="3580285" cy="254300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defRPr sz="1200" b="1" spc="10">
                <a:solidFill>
                  <a:schemeClr val="accent2"/>
                </a:solidFill>
                <a:latin typeface="+mj-lt"/>
              </a:defRPr>
            </a:lvl1pPr>
          </a:lstStyle>
          <a:p>
            <a:pPr>
              <a:defRPr/>
            </a:pPr>
            <a:r>
              <a:rPr lang="de-DE" sz="1600" b="0" dirty="0">
                <a:solidFill>
                  <a:schemeClr val="tx1"/>
                </a:solidFill>
              </a:rPr>
              <a:t>Using alignment tools</a:t>
            </a:r>
          </a:p>
        </p:txBody>
      </p:sp>
      <p:sp>
        <p:nvSpPr>
          <p:cNvPr id="50" name="textruta 34">
            <a:extLst>
              <a:ext uri="{FF2B5EF4-FFF2-40B4-BE49-F238E27FC236}">
                <a16:creationId xmlns:a16="http://schemas.microsoft.com/office/drawing/2014/main" id="{221806F7-D9FD-4257-98BD-9239C9A9F47C}"/>
              </a:ext>
            </a:extLst>
          </p:cNvPr>
          <p:cNvSpPr txBox="1"/>
          <p:nvPr>
            <p:custDataLst>
              <p:tags r:id="rId18"/>
            </p:custDataLst>
          </p:nvPr>
        </p:nvSpPr>
        <p:spPr>
          <a:xfrm>
            <a:off x="5018771" y="2060847"/>
            <a:ext cx="2085521" cy="254300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defRPr sz="1200" b="1" spc="10">
                <a:solidFill>
                  <a:schemeClr val="accent2"/>
                </a:solidFill>
                <a:latin typeface="+mj-lt"/>
              </a:defRPr>
            </a:lvl1pPr>
          </a:lstStyle>
          <a:p>
            <a:pPr>
              <a:defRPr/>
            </a:pPr>
            <a:r>
              <a:rPr lang="de-DE" sz="1600" b="0" dirty="0">
                <a:solidFill>
                  <a:schemeClr val="tx1"/>
                </a:solidFill>
              </a:rPr>
              <a:t>Format shapes</a:t>
            </a:r>
          </a:p>
        </p:txBody>
      </p:sp>
      <p:sp>
        <p:nvSpPr>
          <p:cNvPr id="75" name="textruta 47">
            <a:extLst>
              <a:ext uri="{FF2B5EF4-FFF2-40B4-BE49-F238E27FC236}">
                <a16:creationId xmlns:a16="http://schemas.microsoft.com/office/drawing/2014/main" id="{683C7AAB-0A61-4CD4-899F-3C758516A0A1}"/>
              </a:ext>
            </a:extLst>
          </p:cNvPr>
          <p:cNvSpPr txBox="1"/>
          <p:nvPr>
            <p:custDataLst>
              <p:tags r:id="rId19"/>
            </p:custDataLst>
          </p:nvPr>
        </p:nvSpPr>
        <p:spPr>
          <a:xfrm>
            <a:off x="414244" y="3878564"/>
            <a:ext cx="1838051" cy="30375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defRPr sz="1200" b="1" spc="10">
                <a:solidFill>
                  <a:schemeClr val="accent2"/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900" b="0" dirty="0">
                <a:solidFill>
                  <a:schemeClr val="tx1"/>
                </a:solidFill>
              </a:rPr>
              <a:t>Distribute horizontally or vertically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900" b="0" dirty="0">
                <a:solidFill>
                  <a:schemeClr val="tx1"/>
                </a:solidFill>
                <a:latin typeface="+mn-lt"/>
              </a:rPr>
              <a:t>This function distributes the distance between different objects evenly. Select the objects you want to adjust (at least three) and select Distribute horizontally or Distribute vertically.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</a:endParaRPr>
          </a:p>
        </p:txBody>
      </p:sp>
      <p:sp>
        <p:nvSpPr>
          <p:cNvPr id="52" name="textruta 47">
            <a:extLst>
              <a:ext uri="{FF2B5EF4-FFF2-40B4-BE49-F238E27FC236}">
                <a16:creationId xmlns:a16="http://schemas.microsoft.com/office/drawing/2014/main" id="{E6CBBDE6-DA32-4B11-B3BC-4AEE63945B1E}"/>
              </a:ext>
            </a:extLst>
          </p:cNvPr>
          <p:cNvSpPr txBox="1"/>
          <p:nvPr>
            <p:custDataLst>
              <p:tags r:id="rId20"/>
            </p:custDataLst>
          </p:nvPr>
        </p:nvSpPr>
        <p:spPr>
          <a:xfrm>
            <a:off x="414244" y="5534211"/>
            <a:ext cx="1838051" cy="30375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defRPr sz="1200" b="1" spc="10">
                <a:solidFill>
                  <a:schemeClr val="accent2"/>
                </a:solidFill>
                <a:latin typeface="+mj-lt"/>
              </a:defRPr>
            </a:lvl1pPr>
          </a:lstStyle>
          <a:p>
            <a:pPr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defRPr/>
            </a:pPr>
            <a:r>
              <a:rPr lang="de-DE" sz="900" b="0" dirty="0">
                <a:solidFill>
                  <a:schemeClr val="tx1"/>
                </a:solidFill>
              </a:rPr>
              <a:t>Group objects </a:t>
            </a:r>
          </a:p>
          <a:p>
            <a:pPr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defRPr/>
            </a:pPr>
            <a:r>
              <a:rPr lang="de-DE" sz="900" b="0" dirty="0">
                <a:solidFill>
                  <a:schemeClr val="tx1"/>
                </a:solidFill>
                <a:latin typeface="+mn-lt"/>
              </a:rPr>
              <a:t>Use this function </a:t>
            </a:r>
            <a:br>
              <a:rPr lang="de-DE" sz="900" b="0" dirty="0">
                <a:solidFill>
                  <a:schemeClr val="tx1"/>
                </a:solidFill>
                <a:latin typeface="+mn-lt"/>
              </a:rPr>
            </a:br>
            <a:r>
              <a:rPr lang="de-DE" sz="900" b="0" dirty="0">
                <a:solidFill>
                  <a:schemeClr val="tx1"/>
                </a:solidFill>
                <a:latin typeface="+mn-lt"/>
              </a:rPr>
              <a:t>to group boxes</a:t>
            </a:r>
            <a:endParaRPr lang="en-US" sz="900" b="0" spc="0" dirty="0">
              <a:solidFill>
                <a:prstClr val="black"/>
              </a:solidFill>
              <a:latin typeface="+mn-lt"/>
            </a:endParaRPr>
          </a:p>
        </p:txBody>
      </p:sp>
      <p:cxnSp>
        <p:nvCxnSpPr>
          <p:cNvPr id="53" name="Verbinder: gewinkelt 52">
            <a:extLst>
              <a:ext uri="{FF2B5EF4-FFF2-40B4-BE49-F238E27FC236}">
                <a16:creationId xmlns:a16="http://schemas.microsoft.com/office/drawing/2014/main" id="{33F5C2DC-D770-4E6E-971C-FAF86CC528C0}"/>
              </a:ext>
            </a:extLst>
          </p:cNvPr>
          <p:cNvCxnSpPr>
            <a:cxnSpLocks/>
            <a:stCxn id="52" idx="3"/>
            <a:endCxn id="56" idx="1"/>
          </p:cNvCxnSpPr>
          <p:nvPr/>
        </p:nvCxnSpPr>
        <p:spPr>
          <a:xfrm>
            <a:off x="2252295" y="5686086"/>
            <a:ext cx="480565" cy="112526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Verbinder: gewinkelt 58">
            <a:extLst>
              <a:ext uri="{FF2B5EF4-FFF2-40B4-BE49-F238E27FC236}">
                <a16:creationId xmlns:a16="http://schemas.microsoft.com/office/drawing/2014/main" id="{3C94470C-5DE4-4787-8440-BCDAA60B8218}"/>
              </a:ext>
            </a:extLst>
          </p:cNvPr>
          <p:cNvCxnSpPr>
            <a:cxnSpLocks/>
          </p:cNvCxnSpPr>
          <p:nvPr/>
        </p:nvCxnSpPr>
        <p:spPr>
          <a:xfrm>
            <a:off x="8146161" y="5152778"/>
            <a:ext cx="154061" cy="0"/>
          </a:xfrm>
          <a:prstGeom prst="bentConnector3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ruta 57">
            <a:extLst>
              <a:ext uri="{FF2B5EF4-FFF2-40B4-BE49-F238E27FC236}">
                <a16:creationId xmlns:a16="http://schemas.microsoft.com/office/drawing/2014/main" id="{4CFD5C33-75F6-479C-9886-56A6D8745EF4}"/>
              </a:ext>
            </a:extLst>
          </p:cNvPr>
          <p:cNvSpPr txBox="1"/>
          <p:nvPr>
            <p:custDataLst>
              <p:tags r:id="rId21"/>
            </p:custDataLst>
          </p:nvPr>
        </p:nvSpPr>
        <p:spPr>
          <a:xfrm>
            <a:off x="9419943" y="4055867"/>
            <a:ext cx="1887998" cy="746064"/>
          </a:xfrm>
          <a:prstGeom prst="rect">
            <a:avLst/>
          </a:prstGeom>
          <a:noFill/>
        </p:spPr>
        <p:txBody>
          <a:bodyPr wrap="square" lIns="72000" tIns="0" rIns="0" bIns="0" numCol="1" spcCol="180000" rtlCol="0">
            <a:noAutofit/>
          </a:bodyPr>
          <a:lstStyle/>
          <a:p>
            <a:pPr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</a:pPr>
            <a:r>
              <a:rPr lang="de-DE" sz="900" dirty="0">
                <a:latin typeface="+mj-lt"/>
              </a:rPr>
              <a:t>Columns</a:t>
            </a:r>
          </a:p>
          <a:p>
            <a:r>
              <a:rPr lang="de-DE" sz="900" dirty="0"/>
              <a:t>Longer texts are easier to read if they are arranged in columns. </a:t>
            </a:r>
          </a:p>
          <a:p>
            <a:endParaRPr lang="de-DE" sz="900" dirty="0"/>
          </a:p>
          <a:p>
            <a:r>
              <a:rPr lang="de-DE" sz="900" dirty="0"/>
              <a:t>In addition, more text often fits into the available space.</a:t>
            </a:r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C34D56E1-293B-4C87-A37B-3539736878E7}"/>
              </a:ext>
            </a:extLst>
          </p:cNvPr>
          <p:cNvGrpSpPr/>
          <p:nvPr/>
        </p:nvGrpSpPr>
        <p:grpSpPr>
          <a:xfrm>
            <a:off x="9479154" y="4969496"/>
            <a:ext cx="1096125" cy="685078"/>
            <a:chOff x="10449630" y="5768129"/>
            <a:chExt cx="1386603" cy="866627"/>
          </a:xfrm>
        </p:grpSpPr>
        <p:pic>
          <p:nvPicPr>
            <p:cNvPr id="44" name="Picture 29">
              <a:extLst>
                <a:ext uri="{FF2B5EF4-FFF2-40B4-BE49-F238E27FC236}">
                  <a16:creationId xmlns:a16="http://schemas.microsoft.com/office/drawing/2014/main" id="{AEE325DD-7B7A-43F0-AAE2-56E76017737D}"/>
                </a:ext>
              </a:extLst>
            </p:cNvPr>
            <p:cNvPicPr>
              <a:picLocks noChangeAspect="1"/>
            </p:cNvPicPr>
            <p:nvPr/>
          </p:nvPicPr>
          <p:blipFill>
            <a:blip r:embed="rId3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449630" y="5768129"/>
              <a:ext cx="1386603" cy="866627"/>
            </a:xfrm>
            <a:prstGeom prst="rect">
              <a:avLst/>
            </a:prstGeom>
          </p:spPr>
        </p:pic>
        <p:sp>
          <p:nvSpPr>
            <p:cNvPr id="45" name="Rektangel 21">
              <a:extLst>
                <a:ext uri="{FF2B5EF4-FFF2-40B4-BE49-F238E27FC236}">
                  <a16:creationId xmlns:a16="http://schemas.microsoft.com/office/drawing/2014/main" id="{06B72CC5-D4A8-4C5F-BF59-4441C5836A2F}"/>
                </a:ext>
              </a:extLst>
            </p:cNvPr>
            <p:cNvSpPr/>
            <p:nvPr/>
          </p:nvSpPr>
          <p:spPr>
            <a:xfrm>
              <a:off x="10460426" y="6013573"/>
              <a:ext cx="1130992" cy="385693"/>
            </a:xfrm>
            <a:prstGeom prst="rect">
              <a:avLst/>
            </a:prstGeom>
            <a:solidFill>
              <a:schemeClr val="tx2">
                <a:alpha val="40000"/>
              </a:schemeClr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/>
            <a:lstStyle/>
            <a:p>
              <a:pPr algn="ctr">
                <a:lnSpc>
                  <a:spcPct val="110000"/>
                </a:lnSpc>
                <a:spcBef>
                  <a:spcPts val="1000"/>
                </a:spcBef>
                <a:spcAft>
                  <a:spcPts val="200"/>
                </a:spcAft>
              </a:pPr>
              <a:endParaRPr lang="de-DE" sz="1500" spc="40" dirty="0">
                <a:solidFill>
                  <a:schemeClr val="tx1"/>
                </a:solidFill>
              </a:endParaRPr>
            </a:p>
          </p:txBody>
        </p:sp>
      </p:grpSp>
      <p:cxnSp>
        <p:nvCxnSpPr>
          <p:cNvPr id="47" name="Verbinder: gewinkelt 14">
            <a:extLst>
              <a:ext uri="{FF2B5EF4-FFF2-40B4-BE49-F238E27FC236}">
                <a16:creationId xmlns:a16="http://schemas.microsoft.com/office/drawing/2014/main" id="{A8283EE2-2FB7-4741-B092-3528E240AD51}"/>
              </a:ext>
            </a:extLst>
          </p:cNvPr>
          <p:cNvCxnSpPr>
            <a:cxnSpLocks/>
            <a:stCxn id="51" idx="3"/>
            <a:endCxn id="41" idx="1"/>
          </p:cNvCxnSpPr>
          <p:nvPr/>
        </p:nvCxnSpPr>
        <p:spPr>
          <a:xfrm flipV="1">
            <a:off x="9190015" y="4428899"/>
            <a:ext cx="229928" cy="1619841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tangle 63">
            <a:extLst>
              <a:ext uri="{FF2B5EF4-FFF2-40B4-BE49-F238E27FC236}">
                <a16:creationId xmlns:a16="http://schemas.microsoft.com/office/drawing/2014/main" id="{038F4D50-5AFC-4D59-B358-ACBD47615613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9611557" y="4784241"/>
            <a:ext cx="382927" cy="294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Bef>
                <a:spcPts val="600"/>
              </a:spcBef>
            </a:pP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51" name="Rektangel 21">
            <a:extLst>
              <a:ext uri="{FF2B5EF4-FFF2-40B4-BE49-F238E27FC236}">
                <a16:creationId xmlns:a16="http://schemas.microsoft.com/office/drawing/2014/main" id="{1C99A219-F0D4-4F11-82DD-7732A1B75A53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7976371" y="5972138"/>
            <a:ext cx="1213644" cy="153204"/>
          </a:xfrm>
          <a:prstGeom prst="rect">
            <a:avLst/>
          </a:prstGeom>
          <a:solidFill>
            <a:schemeClr val="tx2">
              <a:alpha val="4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</a:pPr>
            <a:endParaRPr lang="de-DE" sz="1500" spc="40" dirty="0">
              <a:solidFill>
                <a:schemeClr val="tx1"/>
              </a:solidFill>
            </a:endParaRPr>
          </a:p>
        </p:txBody>
      </p:sp>
      <p:pic>
        <p:nvPicPr>
          <p:cNvPr id="55" name="Picture 54">
            <a:extLst>
              <a:ext uri="{FF2B5EF4-FFF2-40B4-BE49-F238E27FC236}">
                <a16:creationId xmlns:a16="http://schemas.microsoft.com/office/drawing/2014/main" id="{D4DE13C7-BF46-4F16-840A-C74C9DC2CD59}"/>
              </a:ext>
            </a:extLst>
          </p:cNvPr>
          <p:cNvPicPr>
            <a:picLocks noChangeAspect="1"/>
          </p:cNvPicPr>
          <p:nvPr/>
        </p:nvPicPr>
        <p:blipFill rotWithShape="1"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65" r="5827"/>
          <a:stretch/>
        </p:blipFill>
        <p:spPr>
          <a:xfrm>
            <a:off x="2776366" y="5544803"/>
            <a:ext cx="1183431" cy="656369"/>
          </a:xfrm>
          <a:prstGeom prst="rect">
            <a:avLst/>
          </a:prstGeom>
        </p:spPr>
      </p:pic>
      <p:sp>
        <p:nvSpPr>
          <p:cNvPr id="56" name="Rektangel 21">
            <a:extLst>
              <a:ext uri="{FF2B5EF4-FFF2-40B4-BE49-F238E27FC236}">
                <a16:creationId xmlns:a16="http://schemas.microsoft.com/office/drawing/2014/main" id="{DCBF76B5-7CDD-423F-9F9F-46F0D0CE0AEA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2732860" y="5542592"/>
            <a:ext cx="1190622" cy="512039"/>
          </a:xfrm>
          <a:prstGeom prst="rect">
            <a:avLst/>
          </a:prstGeom>
          <a:solidFill>
            <a:schemeClr val="tx2">
              <a:alpha val="4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</a:pPr>
            <a:endParaRPr lang="de-DE" sz="1500" spc="40" dirty="0">
              <a:solidFill>
                <a:schemeClr val="tx1"/>
              </a:solidFill>
            </a:endParaRPr>
          </a:p>
        </p:txBody>
      </p:sp>
      <p:sp>
        <p:nvSpPr>
          <p:cNvPr id="58" name="Textfeld 56">
            <a:extLst>
              <a:ext uri="{FF2B5EF4-FFF2-40B4-BE49-F238E27FC236}">
                <a16:creationId xmlns:a16="http://schemas.microsoft.com/office/drawing/2014/main" id="{107FBA98-A3BB-4A69-88CF-CE5F00806824}"/>
              </a:ext>
            </a:extLst>
          </p:cNvPr>
          <p:cNvSpPr txBox="1"/>
          <p:nvPr>
            <p:custDataLst>
              <p:tags r:id="rId25"/>
            </p:custDataLst>
          </p:nvPr>
        </p:nvSpPr>
        <p:spPr>
          <a:xfrm>
            <a:off x="6314931" y="5792843"/>
            <a:ext cx="1339098" cy="38773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900" dirty="0">
                <a:latin typeface="+mj-lt"/>
              </a:rPr>
              <a:t>Wrapping text in form </a:t>
            </a:r>
            <a:r>
              <a:rPr lang="de-DE" sz="900" dirty="0"/>
              <a:t>is sometimes not useful</a:t>
            </a:r>
          </a:p>
        </p:txBody>
      </p:sp>
      <p:cxnSp>
        <p:nvCxnSpPr>
          <p:cNvPr id="37" name="Rak 42">
            <a:extLst>
              <a:ext uri="{FF2B5EF4-FFF2-40B4-BE49-F238E27FC236}">
                <a16:creationId xmlns:a16="http://schemas.microsoft.com/office/drawing/2014/main" id="{C3C74C5F-C9A3-4559-45C6-4F5B1ACBCA68}"/>
              </a:ext>
            </a:extLst>
          </p:cNvPr>
          <p:cNvCxnSpPr>
            <a:cxnSpLocks/>
          </p:cNvCxnSpPr>
          <p:nvPr/>
        </p:nvCxnSpPr>
        <p:spPr>
          <a:xfrm>
            <a:off x="7815200" y="2060847"/>
            <a:ext cx="0" cy="1540323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Rak 42">
            <a:extLst>
              <a:ext uri="{FF2B5EF4-FFF2-40B4-BE49-F238E27FC236}">
                <a16:creationId xmlns:a16="http://schemas.microsoft.com/office/drawing/2014/main" id="{35FF43DF-BA53-5A2F-5539-7E787D5CD54E}"/>
              </a:ext>
            </a:extLst>
          </p:cNvPr>
          <p:cNvCxnSpPr>
            <a:cxnSpLocks/>
          </p:cNvCxnSpPr>
          <p:nvPr/>
        </p:nvCxnSpPr>
        <p:spPr>
          <a:xfrm flipH="1">
            <a:off x="4907868" y="3861048"/>
            <a:ext cx="6876145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fik 14">
            <a:extLst>
              <a:ext uri="{FF2B5EF4-FFF2-40B4-BE49-F238E27FC236}">
                <a16:creationId xmlns:a16="http://schemas.microsoft.com/office/drawing/2014/main" id="{65DC422D-D554-818A-F494-577DBA5D84CC}"/>
              </a:ext>
            </a:extLst>
          </p:cNvPr>
          <p:cNvPicPr>
            <a:picLocks noChangeAspect="1"/>
          </p:cNvPicPr>
          <p:nvPr/>
        </p:nvPicPr>
        <p:blipFill rotWithShape="1">
          <a:blip r:embed="rId30"/>
          <a:srcRect l="51676"/>
          <a:stretch/>
        </p:blipFill>
        <p:spPr>
          <a:xfrm>
            <a:off x="6361834" y="2854115"/>
            <a:ext cx="1021050" cy="950813"/>
          </a:xfrm>
          <a:prstGeom prst="rect">
            <a:avLst/>
          </a:prstGeom>
        </p:spPr>
      </p:pic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3AAB9E4E-FEA6-4282-9D07-E74D99D42708}"/>
              </a:ext>
            </a:extLst>
          </p:cNvPr>
          <p:cNvCxnSpPr>
            <a:cxnSpLocks/>
          </p:cNvCxnSpPr>
          <p:nvPr/>
        </p:nvCxnSpPr>
        <p:spPr>
          <a:xfrm>
            <a:off x="6360411" y="2921214"/>
            <a:ext cx="1061682" cy="847046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BA51008-B419-5413-4088-0B529185C4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oter via menu Insert-&gt; Header and footer 'Apply to all'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A220257-FB4E-9B21-E6DF-D46D0261F7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Page 6</a:t>
            </a:r>
            <a:fld id="{63A738E5-7FE5-4F0E-80D4-9B95A408A0CB}" type="slidenum">
              <a:rPr lang="de-DE" smtClean="0"/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272782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QBAQEBAQEBAQEBAQEBAQMAAAAAAAAAAwAAAAMAAAAA/////wUAFg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xiMZE6sdUFDmJA+lDnZ9uMEAAAAAAADAAAAAAADAAAAAwADAAEA////////BQAAAAMAEAALaSTTjaBlu0G0RP1T1as6sQQAAAABAAMAAAACAAMAAAAEAAQAAQD///////8FAAAABAAQAAtxhjm3vBBZTJzV5daTyVJ/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AMOAAAAAAAAAAAAAP////+DAIMAAAAFX2lkABAAAAAEGIxkTqx1QUOYkD6UOdn24wNEYXRhABsAAAAETGlua2VkU2hhcGVEYXRhAAUAAAAAAAJOYW1lABkAAABMaW5rZWRTaGFwZXNEYXRhUHJvcGVydHkAEFZlcnNpb24AAAAAAAlMYXN0V3JpdGUAxV9qQo4BAAAAAQD/////gwCDAAAABV9pZAAQAAAABGkk042gZbtBtET9U9WrOrEDRGF0YQAbAAAABExpbmtlZFNoYXBlRGF0YQAFAAAAAAACTmFtZQAZAAAATGlua2VkU2hhcGVzRGF0YVByb3BlcnR5ABBWZXJzaW9uAAEAAAAJTGFzdFdyaXRlAA1gakKOAQAAAAIA/////8YAxgAAAAVfaWQAEAAAAARxhjm3vBBZTJzV5daTyVJ/A0RhdGEAUwAAAAhQcmVzZW50YXRpb25TY2FubmVkRm9yTGlua2VkU2hhcGVzAAACTnVtYmVyRm9ybWF0U2VwYXJhdG9yTW9kZQAKAAAAQXV0b21hdGljAAACTmFtZQAkAAAATGlua2VkU2hhcGVQcmVzZW50YXRpb25TZXR0aW5nc0RhdGEAEFZlcnNpb24AAAAAAAlMYXN0V3JpdGUAGGBqQo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C9CwAAAAAAAAAAAAAgAf///////////////wAAAP///////////////wUAAAAEAP///////wUAAAAEAP///////wUAAAAE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GgAGTGlua2VkU2hhcGVzRGF0YVByb3BlcnR5XzAEAAAAAAAFAAAABAAFAAAAAwADAAIBAwAAAAMA////////GgAGTGlua2VkU2hhcGVzRGF0YVByb3BlcnR5XzEEAAAAAQAFAAAAAgAFAAAAAQAFAAAABAD///////8EAAQBAwAAAAQA////////JQAGTGlua2VkU2hhcGVQcmVzZW50YXRpb25TZXR0aW5nc0RhdGFfMAQAAAACAAUAAAAAAAUAAAACAAUAAAAAAAUAAAADAAUAAAAAAP///////wUAAAAA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1080516755554"/>
  <p:tag name="EMPOWERCHARTSPROPERTIES_A_LENGTH" val="24576"/>
  <p:tag name="MIO_PRESENTATION_LANGUAGE" val="1031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8NtLEvC5kNHkf21J7kGou8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MNtLEvC5kNHkf21J7kGou8DRGF0YQAWAAAAAlBlcnNvbmFsSWQAAQAAAAAAAk5hbWUACwAAAFBlcnNvbmFsSWQAEFZlcnNpb24AAAAAAAlMYXN0V3JpdGUARPtv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600771746791"/>
  <p:tag name="EMPOWERCHARTSPROPERTIES_A_LENGTH" val="24576"/>
  <p:tag name="RUNTIME_ID" val="a31b9aec-638c-4fd1-b816-b650d28ec999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1n6m6R53+JMie6MctTIX94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Fn6m6R53+JMie6MctTIX94DRGF0YQAWAAAAAlBlcnNvbmFsSWQAAQAAAAAAAk5hbWUACwAAAFBlcnNvbmFsSWQAEFZlcnNpb24AAAAAAAlMYXN0V3JpdGUAAw1D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71325852792"/>
  <p:tag name="EMPOWERCHARTSPROPERTIES_A_LENGTH" val="24576"/>
  <p:tag name="RUNTIME_ID" val="ef018997-e090-4943-9fea-3c2e6c83a85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/////wMAaA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/iieHUuItZOnNfuR7KS/JsFAAAAAAADAAAAAAADAAAAAQA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PiieHUuItZOnNfuR7KS/JsDRGF0YQAWAAAAAlBlcnNvbmFsSWQAAQAAAAAAAk5hbWUACwAAAFBlcnNvbmFsSWQAEFZlcnNpb24AAAAAAAlMYXN0V3JpdGUABwxD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71323321204"/>
  <p:tag name="EMPOWERCHARTSPROPERTIES_A_LENGTH" val="24576"/>
  <p:tag name="RUNTIME_ID" val="832b5184-4326-4883-9b1e-7c0b56c1a1f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4dZ3SilM3ZPthake2lKEn8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dZ3SilM3ZPthake2lKEn8DRGF0YQAWAAAAAlBlcnNvbmFsSWQAAQAAAAAAAk5hbWUACwAAAFBlcnNvbmFsSWQAEFZlcnNpb24AAAAAAAlMYXN0V3JpdGUAgqtT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82217377127"/>
  <p:tag name="EMPOWERCHARTSPROPERTIES_A_LENGTH" val="24576"/>
  <p:tag name="RUNTIME_ID" val="3a6f771f-21d0-49b5-9922-741a0fbebb57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/////wMAaA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4w/vTrqnRpKuoPc8BFwKiEFAAAAAAADAAAAAAADAAAAAQA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w/vTrqnRpKuoPc8BFwKiEDRGF0YQAWAAAAAlBlcnNvbmFsSWQAAQAAAAAAAk5hbWUACwAAAFBlcnNvbmFsSWQAEFZlcnNpb24AAAAAAAlMYXN0V3JpdGUAngJS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81129742121"/>
  <p:tag name="EMPOWERCHARTSPROPERTIES_A_LENGTH" val="24576"/>
  <p:tag name="RUNTIME_ID" val="32e44bce-c09d-47d7-96de-41f99ad919b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8XpxqAOGEpGlIAZhdw+5QY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AMAAAAAAAAAAAAACAB////////////////AAAA////////////////BAAAAAIA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AEDAAAAAgD///////8MAAZQZXJzb25hbElkXzAFAAAAAAAEAAAAAAAEAAAAAQAEAAAAAAD///////8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MXpxqAOGEpGlIAZhdw+5QYDRGF0YQAWAAAAAlBlcnNvbmFsSWQAAQAAAAAAAk5hbWUACwAAAFBlcnNvbmFsSWQAEFZlcnNpb24AAAAAAAlMYXN0V3JpdGUA4AJS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81130260731"/>
  <p:tag name="EMPOWERCHARTSPROPERTIES_A_LENGTH" val="24576"/>
  <p:tag name="RUNTIME_ID" val="d94af8ec-0b90-46a4-b550-1ccf188f700c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EBAQEBAQEBAQEBAQEBAQEAAAAAAAAAAwAAAAMAAAAA/////wMAXAwAAAAAAAAAAAAAIAD///////////////8AAAD////////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EAP///////wQAAAACABAAC5OyUbfBf4JBiNFU+cWG4C4FAAAAAAADAAAAAAADAAAAAQADAAAAAAD///////8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JOyUbfBf4JBiNFU+cWG4C4DRGF0YQAWAAAAAlBlcnNvbmFsSWQAAQAAAAAAAk5hbWUACwAAAFBlcnNvbmFsSWQAEFZlcnNpb24AAAAAAAlMYXN0V3JpdGUA7QRS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81135544855"/>
  <p:tag name="EMPOWERCHARTSPROPERTIES_A_LENGTH" val="24576"/>
  <p:tag name="RUNTIME_ID" val="36d4cc28-07a3-411e-a35b-65c1aa6e18fb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7TRbs601lBJmqabZrAAhCU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LTRbs601lBJmqabZrAAhCUDRGF0YQAWAAAAAlBlcnNvbmFsSWQAAQAAAAAAAk5hbWUACwAAAFBlcnNvbmFsSWQAEFZlcnNpb24AAAAAAAlMYXN0V3JpdGUAxKtT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82218346325"/>
  <p:tag name="EMPOWERCHARTSPROPERTIES_A_LENGTH" val="24576"/>
  <p:tag name="RUNTIME_ID" val="02c24a28-0c52-4082-be1a-f5993f964ba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wYlEuW1CRxNv2rD3Scy7BQ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AYlEuW1CRxNv2rD3Scy7BQDRGF0YQAWAAAAAlBlcnNvbmFsSWQAAQAAAAAAAk5hbWUACwAAAFBlcnNvbmFsSWQAEFZlcnNpb24AAAAAAAlMYXN0V3JpdGUAIaxT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82219014522"/>
  <p:tag name="EMPOWERCHARTSPROPERTIES_A_LENGTH" val="24576"/>
  <p:tag name="RUNTIME_ID" val="58414750-7da4-4a1d-b69f-2220f42b069d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/////wMAaA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zibWzTu0rlKtKU59WEESU0FAAAAAAADAAAAAAADAAAAAQA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DibWzTu0rlKtKU59WEESU0DRGF0YQAWAAAAAlBlcnNvbmFsSWQAAQAAAAAAAk5hbWUACwAAAFBlcnNvbmFsSWQAEFZlcnNpb24AAAAAAAlMYXN0V3JpdGUAY6xT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82219691324"/>
  <p:tag name="EMPOWERCHARTSPROPERTIES_A_LENGTH" val="24576"/>
  <p:tag name="RUNTIME_ID" val="d8273fa9-d872-4e5e-a5e9-2738ed096a7d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U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01Veclrdb5Gl/20GQuUXK0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FQMAAAAAAAAAAAAACAB////////////////AAAA////////////////BAAAAAIA////////BAAAAAIA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QEDAAAAAgD///////8MAAZQZXJzb25hbElkXzAFAAAAAAAEAAAAAAAEAAAAAQAEAAAAAAD///////8EAAAAAAD///////8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E1Veclrdb5Gl/20GQuUXK0DRGF0YQAWAAAAAlBlcnNvbmFsSWQAAQAAAAAAAk5hbWUACwAAAFBlcnNvbmFsSWQAEFZlcnNpb24AAAAAAAlMYXN0V3JpdGUArqxT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82220441697"/>
  <p:tag name="EMPOWERCHARTSPROPERTIES_A_LENGTH" val="24576"/>
  <p:tag name="RUNTIME_ID" val="a203c62d-cb36-447a-8125-272f91afcac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g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1gk/VC10oJLhW0J6NAMNPs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DAMAAAAAAAAAAAAACAB////////////////AAAA////////////////BAAAAAIA////////BAAAAAIA////////BAAAAAIA////////BAAAAAIA////////BAAAAAIA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CAEDAAAAAgD///////8MAAZQZXJzb25hbElkXzAFAAAAAAAEAAAAAAAEAAAAAQAEAAAAAAD///////8EAAAAAAD///////8EAAAAAAD///////8EAAAAAAD///////8EAAAAAAD///////8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Fgk/VC10oJLhW0J6NAMNPsDRGF0YQAWAAAAAlBlcnNvbmFsSWQAAQAAAAAAAk5hbWUACwAAAFBlcnNvbmFsSWQAEFZlcnNpb24AAAAAAAlMYXN0V3JpdGUA9KxT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82221071835"/>
  <p:tag name="EMPOWERCHARTSPROPERTIES_A_LENGTH" val="24576"/>
  <p:tag name="RUNTIME_ID" val="5ff0bfaa-29dd-4585-ab46-e53866259717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EAAAAAAAAAAwAAAAMAAAAA/////wMAaA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0o6rTiobPdJuYzXAg07u54FAAAAAAADAAAAAAADAAAAAQA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Eo6rTiobPdJuYzXAg07u54DRGF0YQAWAAAAAlBlcnNvbmFsSWQAAQAAAAAAAk5hbWUACwAAAFBlcnNvbmFsSWQAEFZlcnNpb24AAAAAAAlMYXN0V3JpdGUA2pRS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81504063032"/>
  <p:tag name="EMPOWERCHARTSPROPERTIES_A_LENGTH" val="24576"/>
  <p:tag name="RUNTIME_ID" val="4efc5c4f-6dd6-4a76-8b38-8436ea499923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4Mcj2KPR9xBk+AdwMFivVk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Mcj2KPR9xBk+AdwMFivVkDRGF0YQAWAAAAAlBlcnNvbmFsSWQAAQAAAAAAAk5hbWUACwAAAFBlcnNvbmFsSWQAEFZlcnNpb24AAAAAAAlMYXN0V3JpdGUAY2lS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81392702036"/>
  <p:tag name="EMPOWERCHARTSPROPERTIES_A_LENGTH" val="24576"/>
  <p:tag name="RUNTIME_ID" val="318582b6-5f3d-49cb-8251-1fa2be37f05b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/////wMAaA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8Dcv8S3xEJJhh3IxqnhdN8FAAAAAAADAAAAAAADAAAAAQA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MDcv8S3xEJJhh3IxqnhdN8DRGF0YQAWAAAAAlBlcnNvbmFsSWQAAQAAAAAAAk5hbWUACwAAAFBlcnNvbmFsSWQAEFZlcnNpb24AAAAAAAlMYXN0V3JpdGUAo2lS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81393368785"/>
  <p:tag name="EMPOWERCHARTSPROPERTIES_A_LENGTH" val="24576"/>
  <p:tag name="RUNTIME_ID" val="0c298071-a153-4282-ae4a-494bf4c6db5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4Mcj2KPR9xBk+AdwMFivVk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Mcj2KPR9xBk+AdwMFivVkDRGF0YQAWAAAAAlBlcnNvbmFsSWQAAQAAAAAAAk5hbWUACwAAAFBlcnNvbmFsSWQAEFZlcnNpb24AAAAAAAlMYXN0V3JpdGUAY2lS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81392702036"/>
  <p:tag name="EMPOWERCHARTSPROPERTIES_A_LENGTH" val="24576"/>
  <p:tag name="RUNTIME_ID" val="259af333-2562-442d-9833-3ccb4706ef3d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/////wMAaA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8Dcv8S3xEJJhh3IxqnhdN8FAAAAAAADAAAAAAADAAAAAQA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MDcv8S3xEJJhh3IxqnhdN8DRGF0YQAWAAAAAlBlcnNvbmFsSWQAAQAAAAAAAk5hbWUACwAAAFBlcnNvbmFsSWQAEFZlcnNpb24AAAAAAAlMYXN0V3JpdGUAo2lS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81393368785"/>
  <p:tag name="EMPOWERCHARTSPROPERTIES_A_LENGTH" val="24576"/>
  <p:tag name="RUNTIME_ID" val="67562305-df16-42e2-9609-7d241c290498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3P8qAnwPTtFuFd7GDoBgLU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HP8qAnwPTtFuFd7GDoBgLUDRGF0YQAWAAAAAlBlcnNvbmFsSWQAAQAAAAAAAk5hbWUACwAAAFBlcnNvbmFsSWQAEFZlcnNpb24AAAAAAAlMYXN0V3JpdGUAzEtU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82627774574"/>
  <p:tag name="EMPOWERCHARTSPROPERTIES_A_LENGTH" val="24576"/>
  <p:tag name="RUNTIME_ID" val="6154e9b8-7162-488b-81a6-3cc5f10ac87f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0jsvmrhhrVCuSiYirQKOXc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EjsvmrhhrVCuSiYirQKOXcDRGF0YQAWAAAAAlBlcnNvbmFsSWQAAQAAAAAAAk5hbWUACwAAAFBlcnNvbmFsSWQAEFZlcnNpb24AAAAAAAlMYXN0V3JpdGUACy1U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82549191769"/>
  <p:tag name="EMPOWERCHARTSPROPERTIES_A_LENGTH" val="24576"/>
  <p:tag name="RUNTIME_ID" val="11711346-7027-49ce-a3a7-5ed6698ca4b5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y5T/IBNlMBFkgbRG57ySk4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C5T/IBNlMBFkgbRG57ySk4DRGF0YQAWAAAAAlBlcnNvbmFsSWQAAQAAAAAAAk5hbWUACwAAAFBlcnNvbmFsSWQAEFZlcnNpb24AAAAAAAlMYXN0V3JpdGUAVy1U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82549740305"/>
  <p:tag name="EMPOWERCHARTSPROPERTIES_A_LENGTH" val="24576"/>
  <p:tag name="RUNTIME_ID" val="1e85b17e-cdf5-4c1f-ae0d-3eb0db76463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09gkZu0ibJNn2Obx32KVpA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E9gkZu0ibJNn2Obx32KVpADRGF0YQAWAAAAAlBlcnNvbmFsSWQAAQAAAAAAAk5hbWUACwAAAFBlcnNvbmFsSWQAEFZlcnNpb24AAAAAAAlMYXN0V3JpdGUAz1RZ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85927663122"/>
  <p:tag name="EMPOWERCHARTSPROPERTIES_A_LENGTH" val="24576"/>
  <p:tag name="RUNTIME_ID" val="b99106c8-b6bb-4529-b109-7c750e2eb688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0DSCWVGkshEmFJjCXE4XEs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EDSCWVGkshEmFJjCXE4XEsDRGF0YQAWAAAAAlBlcnNvbmFsSWQAAQAAAAAAAk5hbWUACwAAAFBlcnNvbmFsSWQAEFZlcnNpb24AAAAAAAlMYXN0V3JpdGUADlVZ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85928241885"/>
  <p:tag name="EMPOWERCHARTSPROPERTIES_A_LENGTH" val="24576"/>
  <p:tag name="RUNTIME_ID" val="e27ea8a9-fa3b-4e36-895a-8fa4193fee83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6E7x/1S5atEvpoBg7Q0eSM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KE7x/1S5atEvpoBg7Q0eSMDRGF0YQAWAAAAAlBlcnNvbmFsSWQAAQAAAAAAAk5hbWUACwAAAFBlcnNvbmFsSWQAEFZlcnNpb24AAAAAAAlMYXN0V3JpdGUATFVZ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85928840283"/>
  <p:tag name="EMPOWERCHARTSPROPERTIES_A_LENGTH" val="24576"/>
  <p:tag name="RUNTIME_ID" val="56053f22-5129-4923-a672-1be6455089f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EBAQEBAQEBAQEBAQEBAQEAAAAAAAAAAwAAAAMAAAAA/////wMAUAwAAAAAAAAAAAAAIAD///////////////8AAAD///////////////8DAAAAAgD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FAP///////wQAAAACABAAC0mioZXarj9IndWsryQjB2sFAAAAAAADAAAAAAADAAAAAQADAAAAAAD///////8DAAAAAAD///////8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EmioZXarj9IndWsryQjB2sDRGF0YQAWAAAAAlBlcnNvbmFsSWQAAQAAAAAAAk5hbWUACwAAAFBlcnNvbmFsSWQAEFZlcnNpb24AAAAAAAlMYXN0V3JpdGUAhVVZ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85929414619"/>
  <p:tag name="EMPOWERCHARTSPROPERTIES_A_LENGTH" val="24576"/>
  <p:tag name="RUNTIME_ID" val="9e1b1be7-077a-4aab-a199-a0ddc2236fb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yO0mmqn5z5MhUokUZCt4XQ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CO0mmqn5z5MhUokUZCt4XQDRGF0YQAWAAAAAlBlcnNvbmFsSWQAAQAAAAAAAk5hbWUACwAAAFBlcnNvbmFsSWQAEFZlcnNpb24AAAAAAAlMYXN0V3JpdGUAyFVZ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85931124773"/>
  <p:tag name="EMPOWERCHARTSPROPERTIES_A_LENGTH" val="24576"/>
  <p:tag name="RUNTIME_ID" val="308f6c51-dd38-4021-9250-b251338fc15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EBAQEBAQEBAQEBAQEBAQEAAAAAAAAAAwAAAAMAAAAA/////wMAXAwAAAAAAAAAAAAAIAD///////////////8AAAD////////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EAP///////wQAAAACABAAC9TsZA+O/NdIgS7NODAXjPMFAAAAAAADAAAAAAADAAAAAQADAAAAAAD///////8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NTsZA+O/NdIgS7NODAXjPMDRGF0YQAWAAAAAlBlcnNvbmFsSWQAAQAAAAAAAk5hbWUACwAAAFBlcnNvbmFsSWQAEFZlcnNpb24AAAAAAAlMYXN0V3JpdGUAiMJa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86863892301"/>
  <p:tag name="EMPOWERCHARTSPROPERTIES_A_LENGTH" val="24576"/>
  <p:tag name="RUNTIME_ID" val="16c2be89-a3fb-4d7f-bb99-e3188b52e5e7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xL3Bu3CN3VHu1ab7spK1dY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BL3Bu3CN3VHu1ab7spK1dYDRGF0YQAWAAAAAlBlcnNvbmFsSWQAAQAAAAAAAk5hbWUACwAAAFBlcnNvbmFsSWQAEFZlcnNpb24AAAAAAAlMYXN0V3JpdGUAsVZZ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85932457060"/>
  <p:tag name="EMPOWERCHARTSPROPERTIES_A_LENGTH" val="24576"/>
  <p:tag name="RUNTIME_ID" val="f0ca0403-3a21-47fc-8d27-b641ef8f6347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/////wMAaA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84J7mtAy3NLpsZONX6zLSEFAAAAAAADAAAAAAADAAAAAQA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M4J7mtAy3NLpsZONX6zLSEDRGF0YQAWAAAAAlBlcnNvbmFsSWQAAQAAAAAAAk5hbWUACwAAAFBlcnNvbmFsSWQAEFZlcnNpb24AAAAAAAlMYXN0V3JpdGUA8VZZ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85933215092"/>
  <p:tag name="EMPOWERCHARTSPROPERTIES_A_LENGTH" val="24576"/>
  <p:tag name="RUNTIME_ID" val="349e3d62-1b3e-4b87-bd34-2d9f0892342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w91edk7AktItgSvXIVg3j8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A91edk7AktItgSvXIVg3j8DRGF0YQAWAAAAAlBlcnNvbmFsSWQAAQAAAAAAAk5hbWUACwAAAFBlcnNvbmFsSWQAEFZlcnNpb24AAAAAAAlMYXN0V3JpdGUARFdZ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85933891583"/>
  <p:tag name="EMPOWERCHARTSPROPERTIES_A_LENGTH" val="24576"/>
  <p:tag name="RUNTIME_ID" val="52e14d44-3eaf-40bb-b937-25bf46cc5e4f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+z8kPhmcXhEr7Aveg8C0OE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Oz8kPhmcXhEr7Aveg8C0OEDRGF0YQAWAAAAAlBlcnNvbmFsSWQAAQAAAAAAAk5hbWUACwAAAFBlcnNvbmFsSWQAEFZlcnNpb24AAAAAAAlMYXN0V3JpdGUAgFdZ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85934579733"/>
  <p:tag name="EMPOWERCHARTSPROPERTIES_A_LENGTH" val="24576"/>
  <p:tag name="RUNTIME_ID" val="53f9be79-8a2d-4f04-892c-d32dac42bf3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U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xUVUrsXIIZIkibSIV7prog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FQMAAAAAAAAAAAAACAB////////////////AAAA////////////////BAAAAAIA////////BAAAAAIA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QEDAAAAAgD///////8MAAZQZXJzb25hbElkXzAFAAAAAAAEAAAAAAAEAAAAAQAEAAAAAAD///////8EAAAAAAD///////8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BUVUrsXIIZIkibSIV7progDRGF0YQAWAAAAAlBlcnNvbmFsSWQAAQAAAAAAAk5hbWUACwAAAFBlcnNvbmFsSWQAEFZlcnNpb24AAAAAAAlMYXN0V3JpdGUAxVdZ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85935178131"/>
  <p:tag name="EMPOWERCHARTSPROPERTIES_A_LENGTH" val="24576"/>
  <p:tag name="RUNTIME_ID" val="58ad1b99-37f0-42a7-a070-b401be1a1c4c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/gxfomCm41Dnx/ef0wJNlw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PgxfomCm41Dnx/ef0wJNlwDRGF0YQAWAAAAAlBlcnNvbmFsSWQAAQAAAAAAAk5hbWUACwAAAFBlcnNvbmFsSWQAEFZlcnNpb24AAAAAAAlMYXN0V3JpdGUAPDNe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89118449916"/>
  <p:tag name="EMPOWERCHARTSPROPERTIES_A_LENGTH" val="24576"/>
  <p:tag name="RUNTIME_ID" val="636d94f9-dbb8-4a67-8006-7d2cb27f4b4d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yNMlpYX3pVLhvTX4ItZNkw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CNMlpYX3pVLhvTX4ItZNkwDRGF0YQAWAAAAAlBlcnNvbmFsSWQAAQAAAAAAAk5hbWUACwAAAFBlcnNvbmFsSWQAEFZlcnNpb24AAAAAAAlMYXN0V3JpdGUAmzNe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89119371962"/>
  <p:tag name="EMPOWERCHARTSPROPERTIES_A_LENGTH" val="24576"/>
  <p:tag name="RUNTIME_ID" val="3f304ce4-5662-42b9-90dc-e097c785c218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zIMHyetljpIibM9QkqKP0A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DIMHyetljpIibM9QkqKP0ADRGF0YQAWAAAAAlBlcnNvbmFsSWQAAQAAAAAAAk5hbWUACwAAAFBlcnNvbmFsSWQAEFZlcnNpb24AAAAAAAlMYXN0V3JpdGUAOiFe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89072280833"/>
  <p:tag name="EMPOWERCHARTSPROPERTIES_A_LENGTH" val="24576"/>
  <p:tag name="RUNTIME_ID" val="65ab79c8-37d7-4803-9470-25c5f6d3ace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Q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7wOdtv6Gk5Frq0/XQ1IKEM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AMAAAAAAAAAAAAACAB////////////////AAAA////////////////BAAAAAIA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AEDAAAAAgD///////8MAAZQZXJzb25hbElkXzAFAAAAAAAEAAAAAAAEAAAAAQAEAAAAAAD///////8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LwOdtv6Gk5Frq0/XQ1IKEMDRGF0YQAWAAAAAlBlcnNvbmFsSWQAAQAAAAAAAk5hbWUACwAAAFBlcnNvbmFsSWQAEFZlcnNpb24AAAAAAAlMYXN0V3JpdGUAExte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89056563447"/>
  <p:tag name="EMPOWERCHARTSPROPERTIES_A_LENGTH" val="24576"/>
  <p:tag name="RUNTIME_ID" val="1888acb5-22a7-477c-9a96-c510cbe5b25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2JnV3Pi1nZNtqKwpV8cMqs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GJnV3Pi1nZNtqKwpV8cMqsDRGF0YQAWAAAAAlBlcnNvbmFsSWQAAQAAAAAAAk5hbWUACwAAAFBlcnNvbmFsSWQAEFZlcnNpb24AAAAAAAlMYXN0V3JpdGUAwxde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89048117259"/>
  <p:tag name="EMPOWERCHARTSPROPERTIES_A_LENGTH" val="24576"/>
  <p:tag name="RUNTIME_ID" val="6b21d937-70be-4bf9-8d08-53fd3379f085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4UFCS1dNjlBtFnlw3PtqV0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UFCS1dNjlBtFnlw3PtqV0DRGF0YQAWAAAAAlBlcnNvbmFsSWQAAQAAAAAAAk5hbWUACwAAAFBlcnNvbmFsSWQAEFZlcnNpb24AAAAAAAlMYXN0V3JpdGUAARhe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89048765520"/>
  <p:tag name="EMPOWERCHARTSPROPERTIES_A_LENGTH" val="24576"/>
  <p:tag name="RUNTIME_ID" val="09e60d5a-3136-4713-bb79-89c4d39eebb6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z+kjiGnN+VHox4wAjPbJc0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D+kjiGnN+VHox4wAjPbJc0DRGF0YQAWAAAAAlBlcnNvbmFsSWQAAQAAAAAAAk5hbWUACwAAAFBlcnNvbmFsSWQAEFZlcnNpb24AAAAAAAlMYXN0V3JpdGUAVhhe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89049606052"/>
  <p:tag name="EMPOWERCHARTSPROPERTIES_A_LENGTH" val="24576"/>
  <p:tag name="RUNTIME_ID" val="fff59d6e-6f06-4a29-86b8-c4be4cad549d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Y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02M1bpvyS5OuTtK73VHPaA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EgMAAAAAAAAAAAAACAB////////////////AAAA////////////////BAAAAAIA////////BAAAAAIA////////BAAAAAIA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gEDAAAAAgD///////8MAAZQZXJzb25hbElkXzAFAAAAAAAEAAAAAAAEAAAAAQAEAAAAAAD///////8EAAAAAAD///////8EAAAAAAD///////8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E2M1bpvyS5OuTtK73VHPaADRGF0YQAWAAAAAlBlcnNvbmFsSWQAAQAAAAAAAk5hbWUACwAAAFBlcnNvbmFsSWQAEFZlcnNpb24AAAAAAAlMYXN0V3JpdGUAD1Scd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9669632492468"/>
  <p:tag name="EMPOWERCHARTSPROPERTIES_A_LENGTH" val="24576"/>
  <p:tag name="RUNTIME_ID" val="f5f281db-55c7-41e9-873f-6a644efb2ff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5G/6TxXA1JKreuLDVaTaLU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JG/6TxXA1JKreuLDVaTaLUDRGF0YQAWAAAAAlBlcnNvbmFsSWQAAQAAAAAAAk5hbWUACwAAAFBlcnNvbmFsSWQAEFZlcnNpb24AAAAAAAlMYXN0V3JpdGUAUVWcd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9669635794228"/>
  <p:tag name="EMPOWERCHARTSPROPERTIES_A_LENGTH" val="24576"/>
  <p:tag name="RUNTIME_ID" val="ba41871c-f311-48ee-bf4c-f936b42801cb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xJnSoCtjjFKhMT3dXjfgSg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BJnSoCtjjFKhMT3dXjfgSgDRGF0YQAWAAAAAlBlcnNvbmFsSWQAAQAAAAAAAk5hbWUACwAAAFBlcnNvbmFsSWQAEFZlcnNpb24AAAAAAAlMYXN0V3JpdGUAB1mcd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9669645238307"/>
  <p:tag name="EMPOWERCHARTSPROPERTIES_A_LENGTH" val="24576"/>
  <p:tag name="RUNTIME_ID" val="46cf848f-21c1-4cd6-9a84-f2498679300d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EAAAAAAAAAAwAAAAMAAAAA/////wMAaA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zAR7bVlwWpFpjWOjGaS7BMFAAAAAAADAAAAAAADAAAAAQA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DAR7bVlwWpFpjWOjGaS7BMDRGF0YQAWAAAAAlBlcnNvbmFsSWQAAQAAAAAAAk5hbWUACwAAAFBlcnNvbmFsSWQAEFZlcnNpb24AAAAAAAlMYXN0V3JpdGUAevNk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93542969453"/>
  <p:tag name="EMPOWERCHARTSPROPERTIES_A_LENGTH" val="24576"/>
  <p:tag name="RUNTIME_ID" val="fc1aeeaa-44c2-4e35-b7cc-0b9edd18e0dc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+Fz+P2YJBNPmVpOURtiQq0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OFz+P2YJBNPmVpOURtiQq0DRGF0YQAWAAAAAlBlcnNvbmFsSWQAAQAAAAAAAk5hbWUACwAAAFBlcnNvbmFsSWQAEFZlcnNpb24AAAAAAAlMYXN0V3JpdGUAx/Nk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93543538300"/>
  <p:tag name="EMPOWERCHARTSPROPERTIES_A_LENGTH" val="24576"/>
  <p:tag name="RUNTIME_ID" val="d5f5f5e0-80a3-40f2-99d4-3a2e4b95a7cb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IBAQEBAQEBAQEBAQEBAQEAAAAAAAAAAwAAAAMAAAAA/////wMAXAwAAAAAAAAAAAAAIAD///////////////8AAAD////////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EAP///////wQAAAACABAAC0QoXRW8jtpKkIOJ0lWrgeEFAAAAAAADAAAAAAADAAAAAQADAAAAAAD///////8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EQoXRW8jtpKkIOJ0lWrgeEDRGF0YQAWAAAAAlBlcnNvbmFsSWQAAQAAAAAAAk5hbWUACwAAAFBlcnNvbmFsSWQAEFZlcnNpb24AAAAAAAlMYXN0V3JpdGUA0sJk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93418254604"/>
  <p:tag name="EMPOWERCHARTSPROPERTIES_A_LENGTH" val="24576"/>
  <p:tag name="RUNTIME_ID" val="12d01f2d-0cd0-41bc-812f-9677486760f6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4fUNky1gEpKq+FbUJCQbhs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fUNky1gEpKq+FbUJCQbhsDRGF0YQAWAAAAAlBlcnNvbmFsSWQAAQAAAAAAAk5hbWUACwAAAFBlcnNvbmFsSWQAEFZlcnNpb24AAAAAAAlMYXN0V3JpdGUA6dZk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93469559700"/>
  <p:tag name="EMPOWERCHARTSPROPERTIES_A_LENGTH" val="24576"/>
  <p:tag name="RUNTIME_ID" val="2bf1316a-daee-40ec-805c-596348338128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9rh5t7f9iNBumZwwpdfeZ0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Nrh5t7f9iNBumZwwpdfeZ0DRGF0YQAWAAAAAlBlcnNvbmFsSWQAAQAAAAAAAk5hbWUACwAAAFBlcnNvbmFsSWQAEFZlcnNpb24AAAAAAAlMYXN0V3JpdGUABPRk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93544136292"/>
  <p:tag name="EMPOWERCHARTSPROPERTIES_A_LENGTH" val="24576"/>
  <p:tag name="RUNTIME_ID" val="80cc1dfb-6111-491f-a381-d5a429f7ca8c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6bs/g/95MpMoeNO8rApw4U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Kbs/g/95MpMoeNO8rApw4UDRGF0YQAWAAAAAlBlcnNvbmFsSWQAAQAAAAAAAk5hbWUACwAAAFBlcnNvbmFsSWQAEFZlcnNpb24AAAAAAAlMYXN0V3JpdGUAP/Rk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93545054229"/>
  <p:tag name="EMPOWERCHARTSPROPERTIES_A_LENGTH" val="24576"/>
  <p:tag name="RUNTIME_ID" val="464904fa-2d43-4089-a98f-eb0e92a2cf37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6OZltK3/BRLgMWUTXHyF+0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KOZltK3/BRLgMWUTXHyF+0DRGF0YQAWAAAAAlBlcnNvbmFsSWQAAQAAAAAAAk5hbWUACwAAAFBlcnNvbmFsSWQAEFZlcnNpb24AAAAAAAlMYXN0V3JpdGUAm/Rk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93545660174"/>
  <p:tag name="EMPOWERCHARTSPROPERTIES_A_LENGTH" val="24576"/>
  <p:tag name="RUNTIME_ID" val="1f5d9aaa-0d1e-4f01-87ed-5761e01c14c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+zDZYCq3ENKgGTa/2efKkg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OzDZYCq3ENKgGTa/2efKkgDRGF0YQAWAAAAAlBlcnNvbmFsSWQAAQAAAAAAAk5hbWUACwAAAFBlcnNvbmFsSWQAEFZlcnNpb24AAAAAAAlMYXN0V3JpdGUA3PRk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93546298861"/>
  <p:tag name="EMPOWERCHARTSPROPERTIES_A_LENGTH" val="24576"/>
  <p:tag name="RUNTIME_ID" val="06d889eb-6912-43bd-a5ae-cc3125e1d13f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7EGmzn3vEhCicLC/129D0A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LEGmzn3vEhCicLC/129D0ADRGF0YQAWAAAAAlBlcnNvbmFsSWQAAQAAAAAAAk5hbWUACwAAAFBlcnNvbmFsSWQAEFZlcnNpb24AAAAAAAlMYXN0V3JpdGUAGPVk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93546897228"/>
  <p:tag name="EMPOWERCHARTSPROPERTIES_A_LENGTH" val="24576"/>
  <p:tag name="RUNTIME_ID" val="d63a2246-c13a-4f0e-a447-2b1e549eab15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9WYLK4NZ5ZLh8pl7wXvTdM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NWYLK4NZ5ZLh8pl7wXvTdMDRGF0YQAWAAAAAlBlcnNvbmFsSWQAAQAAAAAAAk5hbWUACwAAAFBlcnNvbmFsSWQAEFZlcnNpb24AAAAAAAlMYXN0V3JpdGUAVfVk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93547555143"/>
  <p:tag name="EMPOWERCHARTSPROPERTIES_A_LENGTH" val="24576"/>
  <p:tag name="RUNTIME_ID" val="efa2dd79-7242-4681-b468-8a2320e2498d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EBAQEBAQEBAQEBAQEBAQEAAAAAAAAAAwAAAAMAAAAA/////wMALAwAAAAAAAAAAAAAIAD///////////////8AAAD///////////////8DAAAAAgD///////8DAAAAAgD///////8DAAAAAgD///////8DAAAAAgD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IAP///////wQAAAACABAAC4hZ8FrbTdRJnnTl2uSHsIEFAAAAAAADAAAAAAADAAAAAQADAAAAAAD///////8DAAAAAAD///////8DAAAAAAD///////8DAAAAAAD///////8DAAAAAAD///////8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hZ8FrbTdRJnnTl2uSHsIEDRGF0YQAWAAAAAlBlcnNvbmFsSWQAAQAAAAAAAk5hbWUACwAAAFBlcnNvbmFsSWQAEFZlcnNpb24AAAAAAAlMYXN0V3JpdGUAqfVk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93548357221"/>
  <p:tag name="EMPOWERCHARTSPROPERTIES_A_LENGTH" val="24576"/>
  <p:tag name="RUNTIME_ID" val="5eb49af9-4932-4b68-ad51-7da2e4136337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6TAsDInLdtFpSh+ZrQYlYc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KTAsDInLdtFpSh+ZrQYlYcDRGF0YQAWAAAAAlBlcnNvbmFsSWQAAQAAAAAAAk5hbWUACwAAAFBlcnNvbmFsSWQAEFZlcnNpb24AAAAAAAlMYXN0V3JpdGUA5vVk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93548986160"/>
  <p:tag name="EMPOWERCHARTSPROPERTIES_A_LENGTH" val="24576"/>
  <p:tag name="RUNTIME_ID" val="78256c9a-49ba-479d-98db-9033c8a04cd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wEBAQEBAQEBAQEBAQEBAQEAAAAAAAAAAwAAAAMAAAAA/////wMAOAwAAAAAAAAAAAAAIAD///////////////8AAAD///////////////8DAAAAAgD///////8DAAAAAgD///////8DAAAAAgD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HAP///////wQAAAACABAACz38IFjc9UtCs85/aypzj9gFAAAAAAADAAAAAAADAAAAAQADAAAAAAD///////8DAAAAAAD///////8DAAAAAAD///////8DAAAAAAD///////8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D38IFjc9UtCs85/aypzj9gDRGF0YQAWAAAAAlBlcnNvbmFsSWQAAQAAAAAAAk5hbWUACwAAAFBlcnNvbmFsSWQAEFZlcnNpb24AAAAAAAlMYXN0V3JpdGUAKPZk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93549640240"/>
  <p:tag name="EMPOWERCHARTSPROPERTIES_A_LENGTH" val="24576"/>
  <p:tag name="RUNTIME_ID" val="e321e53f-c25d-4bbf-a071-ef805d34789d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ynJyF0YcBxBgUnL/fS/3b4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CnJyF0YcBxBgUnL/fS/3b4DRGF0YQAWAAAAAlBlcnNvbmFsSWQAAQAAAAAAAk5hbWUACwAAAFBlcnNvbmFsSWQAEFZlcnNpb24AAAAAAAlMYXN0V3JpdGUAM/dv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600761522054"/>
  <p:tag name="EMPOWERCHARTSPROPERTIES_A_LENGTH" val="24576"/>
  <p:tag name="RUNTIME_ID" val="e65ddf9c-769a-4112-9524-33430f088127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EKlhIvos3VQvTi7y.Xa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3MQZWu7JOtHmMYhAYpub00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HMQZWu7JOtHmMYhAYpub00DRGF0YQAWAAAAAlBlcnNvbmFsSWQAAQAAAAAAAk5hbWUACwAAAFBlcnNvbmFsSWQAEFZlcnNpb24AAAAAAAlMYXN0V3JpdGUAlvdv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600762165782"/>
  <p:tag name="EMPOWERCHARTSPROPERTIES_A_LENGTH" val="24576"/>
  <p:tag name="RUNTIME_ID" val="02ce57d5-e727-408b-8898-c5db679ee52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EAAAAAAAAAAwAAAAMAAAAA/////wMAUAwAAAAAAAAAAAAAIAD///////////////8AAAD///////////////8DAAAAAgD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FAP///////wQAAAACABAAC3qYj/KvDA1Do6IK/FXsy38FAAAAAAADAAAAAAADAAAAAQADAAAAAAD///////8DAAAAAAD///////8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HqYj/KvDA1Do6IK/FXsy38DRGF0YQAWAAAAAlBlcnNvbmFsSWQAAQAAAAAAAk5hbWUACwAAAFBlcnNvbmFsSWQAEFZlcnNpb24AAAAAAAlMYXN0V3JpdGUA5fdv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600762958128"/>
  <p:tag name="EMPOWERCHARTSPROPERTIES_A_LENGTH" val="24576"/>
  <p:tag name="RUNTIME_ID" val="fc1db2bb-117f-4ca0-8fdc-d7bc4a420d01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wJ81iCov9dNrKGv6BXMJNc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AJ81iCov9dNrKGv6BXMJNcDRGF0YQAWAAAAAlBlcnNvbmFsSWQAAQAAAAAAAk5hbWUACwAAAFBlcnNvbmFsSWQAEFZlcnNpb24AAAAAAAlMYXN0V3JpdGUAH/hv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600763617035"/>
  <p:tag name="EMPOWERCHARTSPROPERTIES_A_LENGTH" val="24576"/>
  <p:tag name="RUNTIME_ID" val="d5c245fd-2e26-41b5-ac87-ece3e9d918a2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0VILSeMXWZMvQJaCwGwT34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EVILSeMXWZMvQJaCwGwT34DRGF0YQAWAAAAAlBlcnNvbmFsSWQAAQAAAAAAAk5hbWUACwAAAFBlcnNvbmFsSWQAEFZlcnNpb24AAAAAAAlMYXN0V3JpdGUAZPhv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600764295587"/>
  <p:tag name="EMPOWERCHARTSPROPERTIES_A_LENGTH" val="24576"/>
  <p:tag name="RUNTIME_ID" val="1338b5df-4e73-4a32-849c-5b627252ef71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/+rxAEWbbBNr1ES5QRivdA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P+rxAEWbbBNr1ES5QRivdADRGF0YQAWAAAAAlBlcnNvbmFsSWQAAQAAAAAAAk5hbWUACwAAAFBlcnNvbmFsSWQAEFZlcnNpb24AAAAAAAlMYXN0V3JpdGUAqvhv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600764988906"/>
  <p:tag name="EMPOWERCHARTSPROPERTIES_A_LENGTH" val="24576"/>
  <p:tag name="RUNTIME_ID" val="8346e9d1-3a43-45f9-be34-8278d2ef42b2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zOQ0MMxRilGmj+RUudFyC4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DOQ0MMxRilGmj+RUudFyC4DRGF0YQAWAAAAAlBlcnNvbmFsSWQAAQAAAAAAAk5hbWUACwAAAFBlcnNvbmFsSWQAEFZlcnNpb24AAAAAAAlMYXN0V3JpdGUA7vhv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600765706691"/>
  <p:tag name="EMPOWERCHARTSPROPERTIES_A_LENGTH" val="24576"/>
  <p:tag name="RUNTIME_ID" val="d52a009e-9e2d-40f4-8d21-28f81ceaaf42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/////wMAaA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0nZoAX2CB5Ik99nKL37YBYFAAAAAAADAAAAAAADAAAAAQA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EnZoAX2CB5Ik99nKL37YBYDRGF0YQAWAAAAAlBlcnNvbmFsSWQAAQAAAAAAAk5hbWUACwAAAFBlcnNvbmFsSWQAEFZlcnNpb24AAAAAAAlMYXN0V3JpdGUANvlv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600766485045"/>
  <p:tag name="EMPOWERCHARTSPROPERTIES_A_LENGTH" val="24576"/>
  <p:tag name="RUNTIME_ID" val="663ea1f7-dce9-439e-8f44-8f457bd938fd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1+tCAnp3xlDlSL3FP8Z/YA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F+tCAnp3xlDlSL3FP8Z/YADRGF0YQAWAAAAAlBlcnNvbmFsSWQAAQAAAAAAAk5hbWUACwAAAFBlcnNvbmFsSWQAEFZlcnNpb24AAAAAAAlMYXN0V3JpdGUABXpo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95853228169"/>
  <p:tag name="EMPOWERCHARTSPROPERTIES_A_LENGTH" val="24576"/>
  <p:tag name="RUNTIME_ID" val="568b37cb-b771-40bf-997f-1fccbe55b9f8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c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/lP1FiCHkRPt06Vm2INAAY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DwMAAAAAAAAAAAAACAB////////////////AAAA////////////////BAAAAAIA////////BAAAAAIA////////BAAAAAIA////////BAAAAAIA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wEDAAAAAgD///////8MAAZQZXJzb25hbElkXzAFAAAAAAAEAAAAAAAEAAAAAQAEAAAAAAD///////8EAAAAAAD///////8EAAAAAAD///////8EAAAAAAD///////8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PlP1FiCHkRPt06Vm2INAAYDRGF0YQAWAAAAAlBlcnNvbmFsSWQAAQAAAAAAAk5hbWUACwAAAFBlcnNvbmFsSWQAEFZlcnNpb24AAAAAAAlMYXN0V3JpdGUAhXpo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95854494976"/>
  <p:tag name="EMPOWERCHARTSPROPERTIES_A_LENGTH" val="24576"/>
  <p:tag name="RUNTIME_ID" val="b34703a2-18b2-4344-b03c-61454307d409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4nbHeEfJcJOkvze3yqYFuU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nbHeEfJcJOkvze3yqYFuUDRGF0YQAWAAAAAlBlcnNvbmFsSWQAAQAAAAAAAk5hbWUACwAAAFBlcnNvbmFsSWQAEFZlcnNpb24AAAAAAAlMYXN0V3JpdGUAvXpo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95855083764"/>
  <p:tag name="EMPOWERCHARTSPROPERTIES_A_LENGTH" val="24576"/>
  <p:tag name="RUNTIME_ID" val="0e8a513a-15f0-4580-ac19-861acf57f776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Q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27sTW/clhhJlB0FfiGzMpI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AMAAAAAAAAAAAAACAB////////////////AAAA////////////////BAAAAAIA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AEDAAAAAgD///////8MAAZQZXJzb25hbElkXzAFAAAAAAAEAAAAAAAEAAAAAQAEAAAAAAD///////8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G7sTW/clhhJlB0FfiGzMpIDRGF0YQAWAAAAAlBlcnNvbmFsSWQAAQAAAAAAAk5hbWUACwAAAFBlcnNvbmFsSWQAEFZlcnNpb24AAAAAAAlMYXN0V3JpdGUAiPlv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600767243487"/>
  <p:tag name="EMPOWERCHARTSPROPERTIES_A_LENGTH" val="24576"/>
  <p:tag name="RUNTIME_ID" val="396aacdf-788e-4247-9cca-f0df55f50f3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9720yh2y69GowwzEEbHvLg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N720yh2y69GowwzEEbHvLgDRGF0YQAWAAAAAlBlcnNvbmFsSWQAAQAAAAAAAk5hbWUACwAAAFBlcnNvbmFsSWQAEFZlcnNpb24AAAAAAAlMYXN0V3JpdGUA0/lv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600767951246"/>
  <p:tag name="EMPOWERCHARTSPROPERTIES_A_LENGTH" val="24576"/>
  <p:tag name="RUNTIME_ID" val="4c91b8c5-7228-4c28-a1df-f0561b47e61b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/////wMAaA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43jnLBL3KRFqiJC+CrBA3gFAAAAAAADAAAAAAADAAAAAQA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3jnLBL3KRFqiJC+CrBA3gDRGF0YQAWAAAAAlBlcnNvbmFsSWQAAQAAAAAAAk5hbWUACwAAAFBlcnNvbmFsSWQAEFZlcnNpb24AAAAAAAlMYXN0V3JpdGUAF/pv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600768639403"/>
  <p:tag name="EMPOWERCHARTSPROPERTIES_A_LENGTH" val="24576"/>
  <p:tag name="RUNTIME_ID" val="e7b70e71-fe4f-42c8-863e-336780a8cf13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8ZQoGR4T5RDhhr1BRMzeDc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MZQoGR4T5RDhhr1BRMzeDcDRGF0YQAWAAAAAlBlcnNvbmFsSWQAAQAAAAAAAk5hbWUACwAAAFBlcnNvbmFsSWQAEFZlcnNpb24AAAAAAAlMYXN0V3JpdGUA+npo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95855668037"/>
  <p:tag name="EMPOWERCHARTSPROPERTIES_A_LENGTH" val="24576"/>
  <p:tag name="RUNTIME_ID" val="7752b9d0-5eb9-468f-bd26-2ff5650d3571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5f8b1mzFytOsTK29j3erdQ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Jf8b1mzFytOsTK29j3erdQDRGF0YQAWAAAAAlBlcnNvbmFsSWQAAQAAAAAAAk5hbWUACwAAAFBlcnNvbmFsSWQAEFZlcnNpb24AAAAAAAlMYXN0V3JpdGUA8pdo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95929871172"/>
  <p:tag name="EMPOWERCHARTSPROPERTIES_A_LENGTH" val="24576"/>
  <p:tag name="RUNTIME_ID" val="f9fab934-5e8d-42dd-b899-4b733cdc90b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/////wMAaA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8fNk8dRlrVOl88CdJeMI00FAAAAAAADAAAAAAADAAAAAQA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MfNk8dRlrVOl88CdJeMI00DRGF0YQAWAAAAAlBlcnNvbmFsSWQAAQAAAAAAAk5hbWUACwAAAFBlcnNvbmFsSWQAEFZlcnNpb24AAAAAAAlMYXN0V3JpdGUAR3po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95853856660"/>
  <p:tag name="EMPOWERCHARTSPROPERTIES_A_LENGTH" val="24576"/>
  <p:tag name="RUNTIME_ID" val="77161c35-e321-48b9-a250-b69842f3913c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3H4Ttu2LvlHoNvioRdoXpM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HH4Ttu2LvlHoNvioRdoXpMDRGF0YQAWAAAAAlBlcnNvbmFsSWQAAQAAAAAAAk5hbWUACwAAAFBlcnNvbmFsSWQAEFZlcnNpb24AAAAAAAlMYXN0V3JpdGUARXto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95856475512"/>
  <p:tag name="EMPOWERCHARTSPROPERTIES_A_LENGTH" val="24576"/>
  <p:tag name="RUNTIME_ID" val="0a94f19a-6f6e-4021-ba84-229da2cdb422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w9JAtz34TNGgAo4TXM6zD0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A9JAtz34TNGgAo4TXM6zD0DRGF0YQAWAAAAAlBlcnNvbmFsSWQAAQAAAAAAAk5hbWUACwAAAFBlcnNvbmFsSWQAEFZlcnNpb24AAAAAAAlMYXN0V3JpdGUAZfpv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600769447434"/>
  <p:tag name="EMPOWERCHARTSPROPERTIES_A_LENGTH" val="24576"/>
  <p:tag name="RUNTIME_ID" val="1e56b40b-0157-4618-9ace-43d7377f80a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7J9chXtNvBNvTx1B8keh1E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LJ9chXtNvBNvTx1B8keh1EDRGF0YQAWAAAAAlBlcnNvbmFsSWQAAQAAAAAAAk5hbWUACwAAAFBlcnNvbmFsSWQAEFZlcnNpb24AAAAAAAlMYXN0V3JpdGUAsPpv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600770225302"/>
  <p:tag name="EMPOWERCHARTSPROPERTIES_A_LENGTH" val="24576"/>
  <p:tag name="RUNTIME_ID" val="8f73e1cc-7f4d-4721-a067-3af3d789a3ab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wgsBLk+pilGjmhW2LIvHMo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AgsBLk+pilGjmhW2LIvHMoDRGF0YQAWAAAAAlBlcnNvbmFsSWQAAQAAAAAAAk5hbWUACwAAAFBlcnNvbmFsSWQAEFZlcnNpb24AAAAAAAlMYXN0V3JpdGUA+/pv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600770948056"/>
  <p:tag name="EMPOWERCHARTSPROPERTIES_A_LENGTH" val="24576"/>
  <p:tag name="RUNTIME_ID" val="4a63c506-202e-4708-b7ad-8f3fd137174d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EBAQEBAQEBAQEBAQEBAQEAAAAAAAAAAwAAAAMAAAAA/////wMAUAwAAAAAAAAAAAAAIAD///////////////8AAAD///////////////8DAAAAAgD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FAP///////wQAAAACABAACwOFPTVJ8/xFne9grwpqtT0FAAAAAAADAAAAAAADAAAAAQADAAAAAAD///////8DAAAAAAD///////8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AOFPTVJ8/xFne9grwpqtT0DRGF0YQAWAAAAAlBlcnNvbmFsSWQAAQAAAAAAAk5hbWUACwAAAFBlcnNvbmFsSWQAEFZlcnNpb24AAAAAAAlMYXN0V3JpdGUAjnto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95857164035"/>
  <p:tag name="EMPOWERCHARTSPROPERTIES_A_LENGTH" val="24576"/>
  <p:tag name="RUNTIME_ID" val="ff531378-c6b8-4225-8f43-dbaa20e71845"/>
</p:tagLst>
</file>

<file path=ppt/theme/theme1.xml><?xml version="1.0" encoding="utf-8"?>
<a:theme xmlns:a="http://schemas.openxmlformats.org/drawingml/2006/main" name="DALLMER">
  <a:themeElements>
    <a:clrScheme name="Dallmer">
      <a:dk1>
        <a:sysClr val="windowText" lastClr="000000"/>
      </a:dk1>
      <a:lt1>
        <a:sysClr val="window" lastClr="FFFFFF"/>
      </a:lt1>
      <a:dk2>
        <a:srgbClr val="8DA696"/>
      </a:dk2>
      <a:lt2>
        <a:srgbClr val="D9D9D9"/>
      </a:lt2>
      <a:accent1>
        <a:srgbClr val="009DE0"/>
      </a:accent1>
      <a:accent2>
        <a:srgbClr val="126A89"/>
      </a:accent2>
      <a:accent3>
        <a:srgbClr val="9B9B9A"/>
      </a:accent3>
      <a:accent4>
        <a:srgbClr val="214F31"/>
      </a:accent4>
      <a:accent5>
        <a:srgbClr val="3083A0"/>
      </a:accent5>
      <a:accent6>
        <a:srgbClr val="C8D0C8"/>
      </a:accent6>
      <a:hlink>
        <a:srgbClr val="055975"/>
      </a:hlink>
      <a:folHlink>
        <a:srgbClr val="808080"/>
      </a:folHlink>
    </a:clrScheme>
    <a:fontScheme name="Dallmer">
      <a:majorFont>
        <a:latin typeface="Univers Next Pro Medium Cond"/>
        <a:ea typeface=""/>
        <a:cs typeface=""/>
      </a:majorFont>
      <a:minorFont>
        <a:latin typeface="Univers LT Std 47 Cn L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2000" dirty="0" smtClean="0"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ap:Properties xmlns:vt="http://schemas.openxmlformats.org/officeDocument/2006/docPropsVTypes" xmlns:ap="http://schemas.openxmlformats.org/officeDocument/2006/extended-properties">
  <ap:TotalTime>0</ap:TotalTime>
  <ap:Words>786</ap:Words>
  <ap:Application>Microsoft Macintosh PowerPoint</ap:Application>
  <ap:PresentationFormat>Breitbild</ap:PresentationFormat>
  <ap:Paragraphs>121</ap:Paragraphs>
  <ap:Slides>6</ap:Slides>
  <ap:Notes>6</ap:Notes>
  <ap:HiddenSlides>0</ap:HiddenSlides>
  <ap:MMClips>0</ap:MMClips>
  <ap:ScaleCrop>false</ap:ScaleCrop>
  <ap:HeadingPairs>
    <vt:vector baseType="variant" size="8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6</vt:i4>
      </vt:variant>
    </vt:vector>
  </ap:HeadingPairs>
  <ap:TitlesOfParts>
    <vt:vector baseType="lpstr" size="12">
      <vt:lpstr>Arial</vt:lpstr>
      <vt:lpstr>Symbol</vt:lpstr>
      <vt:lpstr>Univers LT Std 47 Cn Lt</vt:lpstr>
      <vt:lpstr>Wingdings 3</vt:lpstr>
      <vt:lpstr>DALLMER</vt:lpstr>
      <vt:lpstr>think-cell Folie</vt:lpstr>
      <vt:lpstr>Kurzanleitung (1/6)</vt:lpstr>
      <vt:lpstr>Kurzanleitung (2/6)</vt:lpstr>
      <vt:lpstr>Kurzanleitung (3/6)</vt:lpstr>
      <vt:lpstr>Kurzanleitung (4/6)</vt:lpstr>
      <vt:lpstr>Kurzanleitung (5/6)</vt:lpstr>
      <vt:lpstr>Kurzanleitung (6/6)</vt:lpstr>
    </vt:vector>
  </ap:TitlesOfParts>
  <ap:Company/>
  <ap:LinksUpToDate>false</ap:LinksUpToDate>
  <ap:SharedDoc>false</ap:SharedDoc>
  <ap:HyperlinksChanged>false</ap:HyperlinksChanged>
  <ap:AppVersion>16.0000</ap:AppVersion>
</ap:Properties>
</file>

<file path=docProps/core.xml><?xml version="1.0" encoding="utf-8"?>
<coreProperties xmlns:dc="http://purl.org/dc/elements/1.1/" xmlns:dcterms="http://purl.org/dc/terms/" xmlns:xsi="http://www.w3.org/2001/XMLSchema-instance" xmlns="http://schemas.openxmlformats.org/package/2006/metadata/core-properties">
  <dc:title>PowerPoint-Präsentation</dc:title>
  <dc:creator>Sandhya Shah</dc:creator>
  <lastModifiedBy>Pauline Brisch</lastModifiedBy>
  <revision>33</revision>
  <dcterms:created xsi:type="dcterms:W3CDTF">2024-03-15T14:04:48.0000000Z</dcterms:created>
  <dcterms:modified xsi:type="dcterms:W3CDTF">2024-05-21T09:12:35.0000000Z</dcterms:modified>
  <keywords>, docId:4BD6851353EC5EE391492543725E3558</keywords>
</coreProperties>
</file>